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90" r:id="rId2"/>
  </p:sldMasterIdLst>
  <p:notesMasterIdLst>
    <p:notesMasterId r:id="rId9"/>
  </p:notesMasterIdLst>
  <p:sldIdLst>
    <p:sldId id="335" r:id="rId3"/>
    <p:sldId id="708" r:id="rId4"/>
    <p:sldId id="716" r:id="rId5"/>
    <p:sldId id="719" r:id="rId6"/>
    <p:sldId id="717" r:id="rId7"/>
    <p:sldId id="718" r:id="rId8"/>
  </p:sldIdLst>
  <p:sldSz cx="12192000" cy="6858000"/>
  <p:notesSz cx="6858000" cy="9144000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amila Čubanová" initials="KČ" lastIdx="1" clrIdx="0">
    <p:extLst>
      <p:ext uri="{19B8F6BF-5375-455C-9EA6-DF929625EA0E}">
        <p15:presenceInfo xmlns:p15="http://schemas.microsoft.com/office/powerpoint/2012/main" userId="S::cubanova@byznysprospolecnost.cz::55dd43b5-2a08-44ae-81e3-116be757638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3E4FF"/>
    <a:srgbClr val="33CCFF"/>
    <a:srgbClr val="5DD5FF"/>
    <a:srgbClr val="FF9900"/>
    <a:srgbClr val="3BFFFF"/>
    <a:srgbClr val="00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204" autoAdjust="0"/>
    <p:restoredTop sz="95256" autoAdjust="0"/>
  </p:normalViewPr>
  <p:slideViewPr>
    <p:cSldViewPr snapToGrid="0">
      <p:cViewPr>
        <p:scale>
          <a:sx n="66" d="100"/>
          <a:sy n="66" d="100"/>
        </p:scale>
        <p:origin x="1243" y="3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presProps" Target="presProps.xml"/><Relationship Id="rId5" Type="http://schemas.openxmlformats.org/officeDocument/2006/relationships/slide" Target="slides/slide3.xml"/><Relationship Id="rId10" Type="http://schemas.openxmlformats.org/officeDocument/2006/relationships/commentAuthors" Target="commentAuthors.xml"/><Relationship Id="rId4" Type="http://schemas.openxmlformats.org/officeDocument/2006/relationships/slide" Target="slides/slide2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A82E47B-FFB7-4F6D-ABAE-37D29910A86B}" type="datetimeFigureOut">
              <a:rPr lang="cs-CZ" smtClean="0"/>
              <a:t>27.05.2024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3397B2E-01D7-488A-A99B-E06E459CF306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403025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581540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 accent 2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1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Copyright">
            <a:extLst>
              <a:ext uri="{FF2B5EF4-FFF2-40B4-BE49-F238E27FC236}">
                <a16:creationId xmlns:a16="http://schemas.microsoft.com/office/drawing/2014/main" id="{2AD12011-8F73-49BB-8C12-BDC820477529}"/>
              </a:ext>
            </a:extLst>
          </p:cNvPr>
          <p:cNvSpPr txBox="1"/>
          <p:nvPr userDrawn="1"/>
        </p:nvSpPr>
        <p:spPr>
          <a:xfrm>
            <a:off x="501649" y="6477001"/>
            <a:ext cx="535516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</a:t>
            </a:r>
            <a:r>
              <a:rPr lang="cs-CZ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For information, contact Deloitte Czech Republic. </a:t>
            </a:r>
          </a:p>
        </p:txBody>
      </p:sp>
      <p:sp>
        <p:nvSpPr>
          <p:cNvPr id="11" name="CaseCode">
            <a:extLst>
              <a:ext uri="{FF2B5EF4-FFF2-40B4-BE49-F238E27FC236}">
                <a16:creationId xmlns:a16="http://schemas.microsoft.com/office/drawing/2014/main" id="{BFFD92C3-7ED3-4D3C-8518-BD2C1CF3A89D}"/>
              </a:ext>
            </a:extLst>
          </p:cNvPr>
          <p:cNvSpPr txBox="1"/>
          <p:nvPr userDrawn="1"/>
        </p:nvSpPr>
        <p:spPr>
          <a:xfrm>
            <a:off x="6335184" y="6477000"/>
            <a:ext cx="489656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 bwMode="gray">
          <a:xfrm>
            <a:off x="469901" y="1700215"/>
            <a:ext cx="10418233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69DBDC7-DF0D-40FE-8DE0-1C33F8DF42EC}"/>
              </a:ext>
            </a:extLst>
          </p:cNvPr>
          <p:cNvSpPr/>
          <p:nvPr userDrawn="1"/>
        </p:nvSpPr>
        <p:spPr>
          <a:xfrm>
            <a:off x="11555698" y="6473952"/>
            <a:ext cx="121828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fld id="{C58DF478-B544-4ED8-9ED4-6A2648E2D233}" type="slidenum">
              <a:rPr lang="en-US" sz="8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85247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 accent 3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1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opyright">
            <a:extLst>
              <a:ext uri="{FF2B5EF4-FFF2-40B4-BE49-F238E27FC236}">
                <a16:creationId xmlns:a16="http://schemas.microsoft.com/office/drawing/2014/main" id="{2AD12011-8F73-49BB-8C12-BDC820477529}"/>
              </a:ext>
            </a:extLst>
          </p:cNvPr>
          <p:cNvSpPr txBox="1"/>
          <p:nvPr userDrawn="1"/>
        </p:nvSpPr>
        <p:spPr>
          <a:xfrm>
            <a:off x="501649" y="6477001"/>
            <a:ext cx="535516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</a:t>
            </a:r>
            <a:r>
              <a:rPr lang="cs-CZ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For information, contact Deloitte Czech Republic. </a:t>
            </a:r>
          </a:p>
        </p:txBody>
      </p:sp>
      <p:sp>
        <p:nvSpPr>
          <p:cNvPr id="8" name="CaseCode">
            <a:extLst>
              <a:ext uri="{FF2B5EF4-FFF2-40B4-BE49-F238E27FC236}">
                <a16:creationId xmlns:a16="http://schemas.microsoft.com/office/drawing/2014/main" id="{BFFD92C3-7ED3-4D3C-8518-BD2C1CF3A89D}"/>
              </a:ext>
            </a:extLst>
          </p:cNvPr>
          <p:cNvSpPr txBox="1"/>
          <p:nvPr userDrawn="1"/>
        </p:nvSpPr>
        <p:spPr>
          <a:xfrm>
            <a:off x="6335184" y="6477000"/>
            <a:ext cx="489656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 bwMode="gray">
          <a:xfrm>
            <a:off x="469901" y="1700215"/>
            <a:ext cx="10418233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69DBDC7-DF0D-40FE-8DE0-1C33F8DF42EC}"/>
              </a:ext>
            </a:extLst>
          </p:cNvPr>
          <p:cNvSpPr/>
          <p:nvPr userDrawn="1"/>
        </p:nvSpPr>
        <p:spPr>
          <a:xfrm>
            <a:off x="11555698" y="6473952"/>
            <a:ext cx="121828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fld id="{C58DF478-B544-4ED8-9ED4-6A2648E2D233}" type="slidenum">
              <a:rPr lang="en-US" sz="8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72435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Key statement green accent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5" y="1590677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36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opyright">
            <a:extLst>
              <a:ext uri="{FF2B5EF4-FFF2-40B4-BE49-F238E27FC236}">
                <a16:creationId xmlns:a16="http://schemas.microsoft.com/office/drawing/2014/main" id="{2AD12011-8F73-49BB-8C12-BDC820477529}"/>
              </a:ext>
            </a:extLst>
          </p:cNvPr>
          <p:cNvSpPr txBox="1"/>
          <p:nvPr userDrawn="1"/>
        </p:nvSpPr>
        <p:spPr>
          <a:xfrm>
            <a:off x="501649" y="6477001"/>
            <a:ext cx="535516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</a:t>
            </a:r>
            <a:r>
              <a:rPr lang="cs-CZ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For information, contact Deloitte Czech Republic. </a:t>
            </a:r>
          </a:p>
        </p:txBody>
      </p:sp>
      <p:sp>
        <p:nvSpPr>
          <p:cNvPr id="10" name="CaseCode">
            <a:extLst>
              <a:ext uri="{FF2B5EF4-FFF2-40B4-BE49-F238E27FC236}">
                <a16:creationId xmlns:a16="http://schemas.microsoft.com/office/drawing/2014/main" id="{BFFD92C3-7ED3-4D3C-8518-BD2C1CF3A89D}"/>
              </a:ext>
            </a:extLst>
          </p:cNvPr>
          <p:cNvSpPr txBox="1"/>
          <p:nvPr userDrawn="1"/>
        </p:nvSpPr>
        <p:spPr>
          <a:xfrm>
            <a:off x="6335184" y="6477000"/>
            <a:ext cx="489656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69DBDC7-DF0D-40FE-8DE0-1C33F8DF42EC}"/>
              </a:ext>
            </a:extLst>
          </p:cNvPr>
          <p:cNvSpPr/>
          <p:nvPr userDrawn="1"/>
        </p:nvSpPr>
        <p:spPr>
          <a:xfrm>
            <a:off x="11555698" y="6473952"/>
            <a:ext cx="121828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fld id="{C58DF478-B544-4ED8-9ED4-6A2648E2D233}" type="slidenum">
              <a:rPr lang="en-US" sz="8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853559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Green Accent 4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5" y="1590677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36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opyright">
            <a:extLst>
              <a:ext uri="{FF2B5EF4-FFF2-40B4-BE49-F238E27FC236}">
                <a16:creationId xmlns:a16="http://schemas.microsoft.com/office/drawing/2014/main" id="{2AD12011-8F73-49BB-8C12-BDC820477529}"/>
              </a:ext>
            </a:extLst>
          </p:cNvPr>
          <p:cNvSpPr txBox="1"/>
          <p:nvPr userDrawn="1"/>
        </p:nvSpPr>
        <p:spPr>
          <a:xfrm>
            <a:off x="501649" y="6477001"/>
            <a:ext cx="535516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</a:t>
            </a:r>
            <a:r>
              <a:rPr lang="cs-CZ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For information, contact Deloitte Czech Republic. </a:t>
            </a:r>
          </a:p>
        </p:txBody>
      </p:sp>
      <p:sp>
        <p:nvSpPr>
          <p:cNvPr id="10" name="CaseCode">
            <a:extLst>
              <a:ext uri="{FF2B5EF4-FFF2-40B4-BE49-F238E27FC236}">
                <a16:creationId xmlns:a16="http://schemas.microsoft.com/office/drawing/2014/main" id="{BFFD92C3-7ED3-4D3C-8518-BD2C1CF3A89D}"/>
              </a:ext>
            </a:extLst>
          </p:cNvPr>
          <p:cNvSpPr txBox="1"/>
          <p:nvPr userDrawn="1"/>
        </p:nvSpPr>
        <p:spPr>
          <a:xfrm>
            <a:off x="6335184" y="6477000"/>
            <a:ext cx="489656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69DBDC7-DF0D-40FE-8DE0-1C33F8DF42EC}"/>
              </a:ext>
            </a:extLst>
          </p:cNvPr>
          <p:cNvSpPr/>
          <p:nvPr userDrawn="1"/>
        </p:nvSpPr>
        <p:spPr>
          <a:xfrm>
            <a:off x="11555698" y="6473952"/>
            <a:ext cx="121828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fld id="{C58DF478-B544-4ED8-9ED4-6A2648E2D233}" type="slidenum">
              <a:rPr lang="en-US" sz="8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176344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5" y="1590677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36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opyright">
            <a:extLst>
              <a:ext uri="{FF2B5EF4-FFF2-40B4-BE49-F238E27FC236}">
                <a16:creationId xmlns:a16="http://schemas.microsoft.com/office/drawing/2014/main" id="{2AD12011-8F73-49BB-8C12-BDC820477529}"/>
              </a:ext>
            </a:extLst>
          </p:cNvPr>
          <p:cNvSpPr txBox="1"/>
          <p:nvPr userDrawn="1"/>
        </p:nvSpPr>
        <p:spPr>
          <a:xfrm>
            <a:off x="501649" y="6477001"/>
            <a:ext cx="535516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</a:t>
            </a:r>
            <a:r>
              <a:rPr lang="cs-CZ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For information, contact Deloitte Czech Republic. </a:t>
            </a:r>
          </a:p>
        </p:txBody>
      </p:sp>
      <p:sp>
        <p:nvSpPr>
          <p:cNvPr id="10" name="CaseCode">
            <a:extLst>
              <a:ext uri="{FF2B5EF4-FFF2-40B4-BE49-F238E27FC236}">
                <a16:creationId xmlns:a16="http://schemas.microsoft.com/office/drawing/2014/main" id="{BFFD92C3-7ED3-4D3C-8518-BD2C1CF3A89D}"/>
              </a:ext>
            </a:extLst>
          </p:cNvPr>
          <p:cNvSpPr txBox="1"/>
          <p:nvPr userDrawn="1"/>
        </p:nvSpPr>
        <p:spPr>
          <a:xfrm>
            <a:off x="6335184" y="6477000"/>
            <a:ext cx="489656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69DBDC7-DF0D-40FE-8DE0-1C33F8DF42EC}"/>
              </a:ext>
            </a:extLst>
          </p:cNvPr>
          <p:cNvSpPr/>
          <p:nvPr userDrawn="1"/>
        </p:nvSpPr>
        <p:spPr>
          <a:xfrm>
            <a:off x="11555698" y="6473952"/>
            <a:ext cx="121828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fld id="{C58DF478-B544-4ED8-9ED4-6A2648E2D233}" type="slidenum">
              <a:rPr lang="en-US" sz="8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705668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5" y="1590677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36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opyright">
            <a:extLst>
              <a:ext uri="{FF2B5EF4-FFF2-40B4-BE49-F238E27FC236}">
                <a16:creationId xmlns:a16="http://schemas.microsoft.com/office/drawing/2014/main" id="{2AD12011-8F73-49BB-8C12-BDC820477529}"/>
              </a:ext>
            </a:extLst>
          </p:cNvPr>
          <p:cNvSpPr txBox="1"/>
          <p:nvPr userDrawn="1"/>
        </p:nvSpPr>
        <p:spPr>
          <a:xfrm>
            <a:off x="501649" y="6477001"/>
            <a:ext cx="535516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</a:t>
            </a:r>
            <a:r>
              <a:rPr lang="cs-CZ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For information, contact Deloitte Czech Republic. </a:t>
            </a:r>
          </a:p>
        </p:txBody>
      </p:sp>
      <p:sp>
        <p:nvSpPr>
          <p:cNvPr id="10" name="CaseCode">
            <a:extLst>
              <a:ext uri="{FF2B5EF4-FFF2-40B4-BE49-F238E27FC236}">
                <a16:creationId xmlns:a16="http://schemas.microsoft.com/office/drawing/2014/main" id="{BFFD92C3-7ED3-4D3C-8518-BD2C1CF3A89D}"/>
              </a:ext>
            </a:extLst>
          </p:cNvPr>
          <p:cNvSpPr txBox="1"/>
          <p:nvPr userDrawn="1"/>
        </p:nvSpPr>
        <p:spPr>
          <a:xfrm>
            <a:off x="6335184" y="6477000"/>
            <a:ext cx="489656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69DBDC7-DF0D-40FE-8DE0-1C33F8DF42EC}"/>
              </a:ext>
            </a:extLst>
          </p:cNvPr>
          <p:cNvSpPr/>
          <p:nvPr userDrawn="1"/>
        </p:nvSpPr>
        <p:spPr>
          <a:xfrm>
            <a:off x="11555698" y="6473952"/>
            <a:ext cx="121828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fld id="{C58DF478-B544-4ED8-9ED4-6A2648E2D233}" type="slidenum">
              <a:rPr lang="en-US" sz="8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207640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65288"/>
            <a:ext cx="9277349" cy="471646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3600"/>
              </a:spcBef>
              <a:buFontTx/>
              <a:buNone/>
              <a:defRPr sz="36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006709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1652" y="2052000"/>
            <a:ext cx="11188699" cy="4069013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2" y="1674087"/>
            <a:ext cx="11188699" cy="3571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1" y="6121014"/>
            <a:ext cx="11188700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CFE9674-04ED-4C53-9426-4EA385799F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5890704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CFE9674-04ED-4C53-9426-4EA385799F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665289"/>
            <a:ext cx="11165416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>
                <a:latin typeface="+mn-lt"/>
              </a:defRPr>
            </a:lvl1pPr>
            <a:lvl2pPr marL="1397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>
                <a:latin typeface="+mj-lt"/>
              </a:defRPr>
            </a:lvl2pPr>
            <a:lvl3pPr marL="3048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−"/>
              <a:defRPr>
                <a:latin typeface="+mn-lt"/>
              </a:defRPr>
            </a:lvl3pPr>
            <a:lvl4pPr marL="4699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◦"/>
              <a:defRPr>
                <a:latin typeface="+mn-lt"/>
              </a:defRPr>
            </a:lvl4pPr>
            <a:lvl5pPr marL="6350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−"/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0099293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Text, whiteboard&#10;&#10;Description automatically generated with medium confidence">
            <a:extLst>
              <a:ext uri="{FF2B5EF4-FFF2-40B4-BE49-F238E27FC236}">
                <a16:creationId xmlns:a16="http://schemas.microsoft.com/office/drawing/2014/main" id="{DA492D71-C43B-8BA8-ADF8-211ECFB8460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grayscl/>
            <a:alphaModFix amt="28000"/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CFE9674-04ED-4C53-9426-4EA385799F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665289"/>
            <a:ext cx="11165416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>
                <a:latin typeface="+mn-lt"/>
              </a:defRPr>
            </a:lvl1pPr>
            <a:lvl2pPr marL="1397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>
                <a:latin typeface="+mj-lt"/>
              </a:defRPr>
            </a:lvl2pPr>
            <a:lvl3pPr marL="3048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−"/>
              <a:defRPr>
                <a:latin typeface="+mn-lt"/>
              </a:defRPr>
            </a:lvl3pPr>
            <a:lvl4pPr marL="4699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◦"/>
              <a:defRPr>
                <a:latin typeface="+mn-lt"/>
              </a:defRPr>
            </a:lvl4pPr>
            <a:lvl5pPr marL="6350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−"/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noProof="0" dirty="0"/>
          </a:p>
        </p:txBody>
      </p:sp>
      <p:sp>
        <p:nvSpPr>
          <p:cNvPr id="3" name="CaseCode">
            <a:extLst>
              <a:ext uri="{FF2B5EF4-FFF2-40B4-BE49-F238E27FC236}">
                <a16:creationId xmlns:a16="http://schemas.microsoft.com/office/drawing/2014/main" id="{48526352-276C-6A6C-BDD7-C2659C71C365}"/>
              </a:ext>
            </a:extLst>
          </p:cNvPr>
          <p:cNvSpPr txBox="1"/>
          <p:nvPr userDrawn="1"/>
        </p:nvSpPr>
        <p:spPr>
          <a:xfrm>
            <a:off x="6335184" y="6477000"/>
            <a:ext cx="489656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LL IN</a:t>
            </a:r>
          </a:p>
        </p:txBody>
      </p:sp>
      <p:sp>
        <p:nvSpPr>
          <p:cNvPr id="4" name="Copyright">
            <a:extLst>
              <a:ext uri="{FF2B5EF4-FFF2-40B4-BE49-F238E27FC236}">
                <a16:creationId xmlns:a16="http://schemas.microsoft.com/office/drawing/2014/main" id="{D1D627D9-D3A7-A87B-F8E5-C86E45CB8DB9}"/>
              </a:ext>
            </a:extLst>
          </p:cNvPr>
          <p:cNvSpPr txBox="1"/>
          <p:nvPr userDrawn="1"/>
        </p:nvSpPr>
        <p:spPr>
          <a:xfrm>
            <a:off x="501649" y="6477001"/>
            <a:ext cx="535516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</a:t>
            </a:r>
            <a:r>
              <a:rPr lang="cs-CZ" sz="8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lang="en-US" sz="8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For information, contact Deloitte Czech Republic.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EAD451E-86B2-7974-786B-F8936EE050EC}"/>
              </a:ext>
            </a:extLst>
          </p:cNvPr>
          <p:cNvSpPr/>
          <p:nvPr userDrawn="1"/>
        </p:nvSpPr>
        <p:spPr>
          <a:xfrm>
            <a:off x="11555698" y="6473952"/>
            <a:ext cx="121828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fld id="{C58DF478-B544-4ED8-9ED4-6A2648E2D233}" type="slidenum">
              <a:rPr lang="en-US" sz="800" noProof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/>
              <a:t>‹#›</a:t>
            </a:fld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12276969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9612255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501651" y="1665289"/>
            <a:ext cx="11165416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>
                <a:latin typeface="+mn-lt"/>
              </a:defRPr>
            </a:lvl1pPr>
            <a:lvl2pPr marL="1397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>
                <a:latin typeface="+mj-lt"/>
              </a:defRPr>
            </a:lvl2pPr>
            <a:lvl3pPr marL="3048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−"/>
              <a:defRPr>
                <a:latin typeface="+mn-lt"/>
              </a:defRPr>
            </a:lvl3pPr>
            <a:lvl4pPr marL="4699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◦"/>
              <a:defRPr>
                <a:latin typeface="+mn-lt"/>
              </a:defRPr>
            </a:lvl4pPr>
            <a:lvl5pPr marL="6350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−"/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noProof="0" dirty="0"/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A1AF4B88-9BDB-4994-AE11-3A74CC55FE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2" y="317500"/>
            <a:ext cx="11180232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321630614"/>
      </p:ext>
    </p:extLst>
  </p:cSld>
  <p:clrMapOvr>
    <a:masterClrMapping/>
  </p:clrMapOvr>
  <p:hf hd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9277349" cy="47164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6729413" algn="r"/>
              </a:tabLst>
              <a:defRPr>
                <a:latin typeface="+mn-lt"/>
              </a:defRPr>
            </a:lvl1pPr>
            <a:lvl2pPr marL="1397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>
                <a:tab pos="6729413" algn="r"/>
              </a:tabLst>
              <a:defRPr>
                <a:latin typeface="+mj-lt"/>
              </a:defRPr>
            </a:lvl2pPr>
            <a:lvl3pPr marL="3048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−"/>
              <a:tabLst>
                <a:tab pos="6729413" algn="r"/>
              </a:tabLst>
              <a:defRPr>
                <a:latin typeface="+mn-lt"/>
              </a:defRPr>
            </a:lvl3pPr>
            <a:lvl4pPr marL="4699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◦"/>
              <a:tabLst>
                <a:tab pos="6729413" algn="r"/>
              </a:tabLst>
              <a:defRPr>
                <a:latin typeface="+mn-lt"/>
              </a:defRPr>
            </a:lvl4pPr>
            <a:lvl5pPr marL="6350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>
                <a:latin typeface="+mn-lt"/>
              </a:defRPr>
            </a:lvl5pPr>
            <a:lvl6pPr>
              <a:tabLst>
                <a:tab pos="6729413" algn="r"/>
              </a:tabLst>
              <a:defRPr/>
            </a:lvl6pPr>
            <a:lvl7pPr>
              <a:tabLst>
                <a:tab pos="6729413" algn="r"/>
              </a:tabLst>
              <a:defRPr/>
            </a:lvl7pPr>
            <a:lvl8pPr>
              <a:tabLst>
                <a:tab pos="6729413" algn="r"/>
              </a:tabLst>
              <a:defRPr/>
            </a:lvl8pPr>
            <a:lvl9pPr>
              <a:tabLst>
                <a:tab pos="6729413" algn="r"/>
              </a:tabLs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2" y="317500"/>
            <a:ext cx="11180232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925620866"/>
      </p:ext>
    </p:extLst>
  </p:cSld>
  <p:clrMapOvr>
    <a:masterClrMapping/>
  </p:clrMapOvr>
  <p:hf hd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t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8862256" y="405929"/>
            <a:ext cx="2804160" cy="1027760"/>
          </a:xfrm>
        </p:spPr>
        <p:txBody>
          <a:bodyPr>
            <a:noAutofit/>
          </a:bodyPr>
          <a:lstStyle>
            <a:lvl1pPr>
              <a:spcBef>
                <a:spcPts val="185"/>
              </a:spcBef>
              <a:defRPr sz="923">
                <a:solidFill>
                  <a:schemeClr val="tx1"/>
                </a:solidFill>
              </a:defRPr>
            </a:lvl1pPr>
            <a:lvl2pPr>
              <a:defRPr sz="969">
                <a:solidFill>
                  <a:schemeClr val="tx2"/>
                </a:solidFill>
              </a:defRPr>
            </a:lvl2pPr>
            <a:lvl3pPr>
              <a:defRPr sz="969">
                <a:solidFill>
                  <a:schemeClr val="tx2"/>
                </a:solidFill>
              </a:defRPr>
            </a:lvl3pPr>
            <a:lvl4pPr>
              <a:defRPr sz="923">
                <a:solidFill>
                  <a:schemeClr val="tx2"/>
                </a:solidFill>
              </a:defRPr>
            </a:lvl4pPr>
            <a:lvl5pPr>
              <a:defRPr sz="92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95300" y="1665288"/>
            <a:ext cx="2796541" cy="4716462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554"/>
              </a:spcAft>
              <a:defRPr sz="969"/>
            </a:lvl1pPr>
            <a:lvl2pPr>
              <a:spcBef>
                <a:spcPts val="277"/>
              </a:spcBef>
              <a:defRPr/>
            </a:lvl2pPr>
            <a:lvl3pPr>
              <a:spcBef>
                <a:spcPts val="277"/>
              </a:spcBef>
              <a:defRPr/>
            </a:lvl3pPr>
            <a:lvl4pPr>
              <a:spcBef>
                <a:spcPts val="277"/>
              </a:spcBef>
              <a:defRPr/>
            </a:lvl4pPr>
            <a:lvl5pPr>
              <a:spcBef>
                <a:spcPts val="277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3780369" y="1665287"/>
            <a:ext cx="7916331" cy="4716461"/>
          </a:xfrm>
        </p:spPr>
        <p:txBody>
          <a:bodyPr>
            <a:noAutofit/>
          </a:bodyPr>
          <a:lstStyle>
            <a:lvl1pPr marL="0" indent="0" algn="l">
              <a:spcBef>
                <a:spcPts val="1662"/>
              </a:spcBef>
              <a:buFontTx/>
              <a:buNone/>
              <a:defRPr/>
            </a:lvl1pPr>
            <a:lvl2pPr marL="1397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noProof="0" dirty="0"/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BE53F9A5-D017-41A9-87FD-42B8B6C6428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03988" y="3780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39" name="Oval 5">
              <a:extLst>
                <a:ext uri="{FF2B5EF4-FFF2-40B4-BE49-F238E27FC236}">
                  <a16:creationId xmlns:a16="http://schemas.microsoft.com/office/drawing/2014/main" id="{70412374-88D8-4076-97A4-28B9D453A9F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40" name="Freeform 6">
              <a:extLst>
                <a:ext uri="{FF2B5EF4-FFF2-40B4-BE49-F238E27FC236}">
                  <a16:creationId xmlns:a16="http://schemas.microsoft.com/office/drawing/2014/main" id="{059052DC-E283-45E3-A11B-EFC0EF64057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41" name="Rectangle 7">
              <a:extLst>
                <a:ext uri="{FF2B5EF4-FFF2-40B4-BE49-F238E27FC236}">
                  <a16:creationId xmlns:a16="http://schemas.microsoft.com/office/drawing/2014/main" id="{C8E40EE6-74FE-4B63-ADD7-D8251359CC5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42" name="Freeform 8">
              <a:extLst>
                <a:ext uri="{FF2B5EF4-FFF2-40B4-BE49-F238E27FC236}">
                  <a16:creationId xmlns:a16="http://schemas.microsoft.com/office/drawing/2014/main" id="{6D34B50B-2467-467F-BE0D-CA832EE3A76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43" name="Rectangle 9">
              <a:extLst>
                <a:ext uri="{FF2B5EF4-FFF2-40B4-BE49-F238E27FC236}">
                  <a16:creationId xmlns:a16="http://schemas.microsoft.com/office/drawing/2014/main" id="{1004DF0B-038C-4CB4-89B3-42D949ED0B9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44" name="Rectangle 10">
              <a:extLst>
                <a:ext uri="{FF2B5EF4-FFF2-40B4-BE49-F238E27FC236}">
                  <a16:creationId xmlns:a16="http://schemas.microsoft.com/office/drawing/2014/main" id="{2FB8C6E0-92EE-49AA-95D9-7BE219F64FE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45" name="Freeform 11">
              <a:extLst>
                <a:ext uri="{FF2B5EF4-FFF2-40B4-BE49-F238E27FC236}">
                  <a16:creationId xmlns:a16="http://schemas.microsoft.com/office/drawing/2014/main" id="{CEE92EC5-3F38-4286-A2DA-7B5E941BC2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46" name="Freeform 12">
              <a:extLst>
                <a:ext uri="{FF2B5EF4-FFF2-40B4-BE49-F238E27FC236}">
                  <a16:creationId xmlns:a16="http://schemas.microsoft.com/office/drawing/2014/main" id="{3C2CE8EA-279F-441C-99BC-330C664B32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47" name="Freeform 13">
              <a:extLst>
                <a:ext uri="{FF2B5EF4-FFF2-40B4-BE49-F238E27FC236}">
                  <a16:creationId xmlns:a16="http://schemas.microsoft.com/office/drawing/2014/main" id="{328EA017-C8BA-490A-9F7A-F880FE999A8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48" name="Freeform 14">
              <a:extLst>
                <a:ext uri="{FF2B5EF4-FFF2-40B4-BE49-F238E27FC236}">
                  <a16:creationId xmlns:a16="http://schemas.microsoft.com/office/drawing/2014/main" id="{BAE89DBE-19C8-422A-B7E6-D6726124DF5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58283243"/>
      </p:ext>
    </p:extLst>
  </p:cSld>
  <p:clrMapOvr>
    <a:masterClrMapping/>
  </p:clrMapOvr>
  <p:hf hd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1"/>
            <a:ext cx="11188700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450351" y="1665288"/>
            <a:ext cx="6240000" cy="4716463"/>
          </a:xfrm>
        </p:spPr>
        <p:txBody>
          <a:bodyPr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4456429" cy="47164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>
                <a:latin typeface="+mn-lt"/>
              </a:defRPr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>
                <a:latin typeface="+mj-lt"/>
              </a:defRPr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>
                <a:latin typeface="+mn-lt"/>
              </a:defRPr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>
                <a:latin typeface="+mn-lt"/>
              </a:defRPr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39340105"/>
      </p:ext>
    </p:extLst>
  </p:cSld>
  <p:clrMapOvr>
    <a:masterClrMapping/>
  </p:clrMapOvr>
  <p:hf hd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5305579" cy="47164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81539" y="1665289"/>
            <a:ext cx="5322781" cy="47164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>
                <a:schemeClr val="tx1"/>
              </a:buClr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8A9CD2DA-AA83-4DCB-8501-DE5878CC0B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6559CC6F-6478-4902-A4D5-F8FB6538D2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8778433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501652" y="1665289"/>
            <a:ext cx="5355165" cy="44557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3" y="2125013"/>
            <a:ext cx="5349128" cy="3996000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3" y="1665288"/>
            <a:ext cx="5349128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0" y="6121014"/>
            <a:ext cx="11188700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E911C489-B226-49BC-B069-119CF8BC96E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F47218A4-44FE-4E96-A903-7AD44AF4E8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79521237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1" y="2125013"/>
            <a:ext cx="5349129" cy="3996000"/>
          </a:xfrm>
        </p:spPr>
        <p:txBody>
          <a:bodyPr>
            <a:noAutofit/>
          </a:bodyPr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2" y="1665288"/>
            <a:ext cx="5349129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501650" y="2125013"/>
            <a:ext cx="5349240" cy="3996000"/>
          </a:xfrm>
        </p:spPr>
        <p:txBody>
          <a:bodyPr>
            <a:noAutofit/>
          </a:bodyPr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501649" y="1665288"/>
            <a:ext cx="5349240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D528E1B-5BDF-48B1-B9CD-A31A996312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6A696DA-71F5-44D5-B231-17F470D2F6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00278226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577882" y="1658680"/>
            <a:ext cx="4112468" cy="472307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2100">
                <a:solidFill>
                  <a:schemeClr val="accent3"/>
                </a:solidFill>
              </a:defRPr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01651" y="1665288"/>
            <a:ext cx="6506348" cy="471646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68009483-F3D1-4AD9-8031-CEB4620DB87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51FE75E2-F986-4CD3-8A43-338DEE272C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87259240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4000" y="2051999"/>
            <a:ext cx="3549549" cy="4069014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0" y="1659145"/>
            <a:ext cx="3549549" cy="392112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322401" y="2051999"/>
            <a:ext cx="3549549" cy="4069014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321226" y="1659145"/>
            <a:ext cx="3549549" cy="392112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140801" y="2051999"/>
            <a:ext cx="3549549" cy="4069014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140801" y="1659145"/>
            <a:ext cx="3549549" cy="398256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F3BAE7D4-2DCE-493F-8804-6735FFDC6D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0AA8666D-884E-4CE4-A16C-E06A6E0BAE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50083334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501649" y="1674086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27216" y="1674086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52783" y="1674086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8978351" y="1674086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1650" y="3124200"/>
            <a:ext cx="2720468" cy="3257548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149963" y="3120551"/>
            <a:ext cx="2712000" cy="3261199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30040" y="3124200"/>
            <a:ext cx="2712000" cy="3257549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8993169" y="3108508"/>
            <a:ext cx="2697183" cy="327324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CB36819A-C0CE-4CC8-96BE-D57C8135F44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A14F8B0D-4D62-4988-B307-1BB6BBEEC1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4341594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Picture Placeholder 8">
            <a:extLst>
              <a:ext uri="{FF2B5EF4-FFF2-40B4-BE49-F238E27FC236}">
                <a16:creationId xmlns:a16="http://schemas.microsoft.com/office/drawing/2014/main" id="{AC175F74-77C8-4969-BBF5-920619ED762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07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BBB00153-52E8-495A-BA32-E581AC7A8A6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03988" y="3780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53" name="Oval 5">
              <a:extLst>
                <a:ext uri="{FF2B5EF4-FFF2-40B4-BE49-F238E27FC236}">
                  <a16:creationId xmlns:a16="http://schemas.microsoft.com/office/drawing/2014/main" id="{EE44E009-869C-4AA1-972F-BFAD35A46F0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54" name="Freeform 6">
              <a:extLst>
                <a:ext uri="{FF2B5EF4-FFF2-40B4-BE49-F238E27FC236}">
                  <a16:creationId xmlns:a16="http://schemas.microsoft.com/office/drawing/2014/main" id="{DC9A9EB1-2077-4DFD-B533-87E250FD463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55" name="Rectangle 7">
              <a:extLst>
                <a:ext uri="{FF2B5EF4-FFF2-40B4-BE49-F238E27FC236}">
                  <a16:creationId xmlns:a16="http://schemas.microsoft.com/office/drawing/2014/main" id="{33ACF17B-FD5C-45C9-B731-4D7315B1D9C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56" name="Freeform 8">
              <a:extLst>
                <a:ext uri="{FF2B5EF4-FFF2-40B4-BE49-F238E27FC236}">
                  <a16:creationId xmlns:a16="http://schemas.microsoft.com/office/drawing/2014/main" id="{3D32D184-C4ED-4776-9DCC-E3F18CF55C2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57" name="Rectangle 9">
              <a:extLst>
                <a:ext uri="{FF2B5EF4-FFF2-40B4-BE49-F238E27FC236}">
                  <a16:creationId xmlns:a16="http://schemas.microsoft.com/office/drawing/2014/main" id="{090BAC98-B3D7-4E96-B78D-0FE4BD1884B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58" name="Rectangle 10">
              <a:extLst>
                <a:ext uri="{FF2B5EF4-FFF2-40B4-BE49-F238E27FC236}">
                  <a16:creationId xmlns:a16="http://schemas.microsoft.com/office/drawing/2014/main" id="{D81C0B16-CEDA-4DD7-AA0E-D7E98149B00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59" name="Freeform 11">
              <a:extLst>
                <a:ext uri="{FF2B5EF4-FFF2-40B4-BE49-F238E27FC236}">
                  <a16:creationId xmlns:a16="http://schemas.microsoft.com/office/drawing/2014/main" id="{C71424E0-1449-47B0-BF76-7A226D3160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60" name="Freeform 12">
              <a:extLst>
                <a:ext uri="{FF2B5EF4-FFF2-40B4-BE49-F238E27FC236}">
                  <a16:creationId xmlns:a16="http://schemas.microsoft.com/office/drawing/2014/main" id="{39CF108A-51E0-49A1-80F5-6286DB6FEB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61" name="Freeform 13">
              <a:extLst>
                <a:ext uri="{FF2B5EF4-FFF2-40B4-BE49-F238E27FC236}">
                  <a16:creationId xmlns:a16="http://schemas.microsoft.com/office/drawing/2014/main" id="{28BEACF0-05E8-46F1-8AE5-8FF2ADC543E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62" name="Freeform 14">
              <a:extLst>
                <a:ext uri="{FF2B5EF4-FFF2-40B4-BE49-F238E27FC236}">
                  <a16:creationId xmlns:a16="http://schemas.microsoft.com/office/drawing/2014/main" id="{B661CA16-D87B-4315-804A-3E82AE3F0CF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pic>
        <p:nvPicPr>
          <p:cNvPr id="16" name="Picture 15">
            <a:extLst>
              <a:ext uri="{FF2B5EF4-FFF2-40B4-BE49-F238E27FC236}">
                <a16:creationId xmlns:a16="http://schemas.microsoft.com/office/drawing/2014/main" id="{24091ED7-C412-487B-88AC-F1B76F6BA2F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694852" y="5659120"/>
            <a:ext cx="1198880" cy="1198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4358434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504000" y="1672337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24085" y="1665377"/>
            <a:ext cx="5475067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504000" y="4065173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224085" y="4065173"/>
            <a:ext cx="547506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504000" y="1845377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24085" y="1845377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504000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24085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683483" y="1845377"/>
            <a:ext cx="3288000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396560" y="1845377"/>
            <a:ext cx="3302592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683483" y="4256213"/>
            <a:ext cx="3288000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396560" y="4256213"/>
            <a:ext cx="3302592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2753468-486C-4E44-B97B-3442F4990D23}"/>
              </a:ext>
            </a:extLst>
          </p:cNvPr>
          <p:cNvSpPr/>
          <p:nvPr/>
        </p:nvSpPr>
        <p:spPr>
          <a:xfrm>
            <a:off x="476780" y="1669027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48A3CDF-F5A1-44AC-9648-5A3D0461AB03}"/>
              </a:ext>
            </a:extLst>
          </p:cNvPr>
          <p:cNvSpPr/>
          <p:nvPr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8A9EEEA-4AE4-43FE-9262-BC961D83A4C2}"/>
              </a:ext>
            </a:extLst>
          </p:cNvPr>
          <p:cNvSpPr/>
          <p:nvPr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E14920E0-BAB9-44E6-A33A-5F4B6E751C0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B186F496-8F3D-4D1B-850D-31517B35E6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56C776D0-A1AC-41AD-A930-68E62E311F28}"/>
              </a:ext>
            </a:extLst>
          </p:cNvPr>
          <p:cNvSpPr/>
          <p:nvPr userDrawn="1"/>
        </p:nvSpPr>
        <p:spPr>
          <a:xfrm>
            <a:off x="476780" y="1669027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E8772A29-A091-45EF-9E05-7D38B8B671A6}"/>
              </a:ext>
            </a:extLst>
          </p:cNvPr>
          <p:cNvSpPr/>
          <p:nvPr userDrawn="1"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331A621E-F4F0-40C4-8952-5BF179427ED7}"/>
              </a:ext>
            </a:extLst>
          </p:cNvPr>
          <p:cNvSpPr/>
          <p:nvPr userDrawn="1"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921424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12874" y="1857892"/>
            <a:ext cx="5466824" cy="1695450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46195" y="1857892"/>
            <a:ext cx="5444156" cy="1695450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57892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46190" y="1857892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4074C3BE-314B-470C-927B-DBC4A457D9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E8EE9A28-CEAF-410C-B504-E930E2347F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504000" y="1672337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6224085" y="1665377"/>
            <a:ext cx="5475067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2753468-486C-4E44-B97B-3442F4990D23}"/>
              </a:ext>
            </a:extLst>
          </p:cNvPr>
          <p:cNvSpPr/>
          <p:nvPr userDrawn="1"/>
        </p:nvSpPr>
        <p:spPr>
          <a:xfrm>
            <a:off x="476780" y="1669027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6C776D0-A1AC-41AD-A930-68E62E311F28}"/>
              </a:ext>
            </a:extLst>
          </p:cNvPr>
          <p:cNvSpPr/>
          <p:nvPr userDrawn="1"/>
        </p:nvSpPr>
        <p:spPr>
          <a:xfrm>
            <a:off x="476780" y="1669027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82376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56702" y="1857892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2" name="Rectangle 11"/>
          <p:cNvSpPr/>
          <p:nvPr/>
        </p:nvSpPr>
        <p:spPr>
          <a:xfrm>
            <a:off x="504001" y="4103518"/>
            <a:ext cx="546894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246194" y="4103518"/>
            <a:ext cx="5444716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54494" y="4290626"/>
            <a:ext cx="123938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4993" y="4290626"/>
            <a:ext cx="1244160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57892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1986DCA-1B97-4EC9-A852-97E5340E26DC}"/>
              </a:ext>
            </a:extLst>
          </p:cNvPr>
          <p:cNvSpPr/>
          <p:nvPr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21E9D44-54F1-4CE7-8FDF-78DC08D29E3F}"/>
              </a:ext>
            </a:extLst>
          </p:cNvPr>
          <p:cNvSpPr/>
          <p:nvPr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CAAD7DA-8C87-4BD9-82C1-81D09B5A7A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9957D34C-FCB8-47FD-97FA-BF6A4F7FEC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DE12908D-2FA0-48AB-B2FF-08FF4335719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2874" y="1857892"/>
            <a:ext cx="5466824" cy="1695450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8DB1A9EF-276C-4FE9-B33D-E2267D9DB46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46194" y="1857892"/>
            <a:ext cx="5466824" cy="1695450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2A7C1E0-8314-4B78-902A-0828B984B279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37297" y="4290625"/>
            <a:ext cx="5466824" cy="1695450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9057B8DE-1E5B-4E78-8FC1-456B14A880F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46194" y="4290625"/>
            <a:ext cx="5466824" cy="1695450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8" name="Rectangle 27"/>
          <p:cNvSpPr/>
          <p:nvPr userDrawn="1"/>
        </p:nvSpPr>
        <p:spPr>
          <a:xfrm>
            <a:off x="504000" y="1672337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29" name="Rectangle 28"/>
          <p:cNvSpPr/>
          <p:nvPr userDrawn="1"/>
        </p:nvSpPr>
        <p:spPr>
          <a:xfrm>
            <a:off x="6224085" y="1665377"/>
            <a:ext cx="5475067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12753468-486C-4E44-B97B-3442F4990D23}"/>
              </a:ext>
            </a:extLst>
          </p:cNvPr>
          <p:cNvSpPr/>
          <p:nvPr userDrawn="1"/>
        </p:nvSpPr>
        <p:spPr>
          <a:xfrm>
            <a:off x="476780" y="1669027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56C776D0-A1AC-41AD-A930-68E62E311F28}"/>
              </a:ext>
            </a:extLst>
          </p:cNvPr>
          <p:cNvSpPr/>
          <p:nvPr userDrawn="1"/>
        </p:nvSpPr>
        <p:spPr>
          <a:xfrm>
            <a:off x="476780" y="1669027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8308399"/>
      </p:ext>
    </p:extLst>
  </p:cSld>
  <p:clrMapOvr>
    <a:masterClrMapping/>
  </p:clrMapOvr>
  <p:hf hd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E69DF469-1C05-4DC1-B6C9-2712D9E1B83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77DBFC5B-8E23-48FC-97C3-38FCFE6253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F739EC70-7463-4AC3-840B-4FCA6DF3973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12874" y="1857891"/>
            <a:ext cx="3584464" cy="3839303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A85F1297-532C-478B-8C8C-A7A406ADF2C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25938" y="1861481"/>
            <a:ext cx="3584464" cy="3839303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72E6BFE1-0779-4417-985A-E1020673A1F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148737" y="1857890"/>
            <a:ext cx="3584464" cy="3839303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56C776D0-A1AC-41AD-A930-68E62E311F28}"/>
              </a:ext>
            </a:extLst>
          </p:cNvPr>
          <p:cNvSpPr/>
          <p:nvPr userDrawn="1"/>
        </p:nvSpPr>
        <p:spPr>
          <a:xfrm>
            <a:off x="476780" y="1669027"/>
            <a:ext cx="363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56C776D0-A1AC-41AD-A930-68E62E311F28}"/>
              </a:ext>
            </a:extLst>
          </p:cNvPr>
          <p:cNvSpPr/>
          <p:nvPr userDrawn="1"/>
        </p:nvSpPr>
        <p:spPr>
          <a:xfrm>
            <a:off x="4325938" y="1669027"/>
            <a:ext cx="363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56C776D0-A1AC-41AD-A930-68E62E311F28}"/>
              </a:ext>
            </a:extLst>
          </p:cNvPr>
          <p:cNvSpPr/>
          <p:nvPr userDrawn="1"/>
        </p:nvSpPr>
        <p:spPr>
          <a:xfrm>
            <a:off x="8148737" y="1669027"/>
            <a:ext cx="363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5206339"/>
      </p:ext>
    </p:extLst>
  </p:cSld>
  <p:clrMapOvr>
    <a:masterClrMapping/>
  </p:clrMapOvr>
  <p:hf hd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01651" y="1674087"/>
            <a:ext cx="3695700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06398" y="1674087"/>
            <a:ext cx="3683953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73075" y="1674087"/>
            <a:ext cx="3657600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18"/>
          <p:cNvSpPr>
            <a:spLocks noGrp="1"/>
          </p:cNvSpPr>
          <p:nvPr>
            <p:ph idx="1"/>
          </p:nvPr>
        </p:nvSpPr>
        <p:spPr>
          <a:xfrm>
            <a:off x="501651" y="3832225"/>
            <a:ext cx="3683949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Text Placeholder 18"/>
          <p:cNvSpPr>
            <a:spLocks noGrp="1"/>
          </p:cNvSpPr>
          <p:nvPr>
            <p:ph idx="16"/>
          </p:nvPr>
        </p:nvSpPr>
        <p:spPr>
          <a:xfrm>
            <a:off x="4267200" y="3832225"/>
            <a:ext cx="3657600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Text Placeholder 18"/>
          <p:cNvSpPr>
            <a:spLocks noGrp="1"/>
          </p:cNvSpPr>
          <p:nvPr>
            <p:ph idx="17"/>
          </p:nvPr>
        </p:nvSpPr>
        <p:spPr>
          <a:xfrm>
            <a:off x="8006398" y="3832225"/>
            <a:ext cx="3683953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F15AF63-D425-4D3F-B484-4B7A0F329F9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F7002A92-1CF7-42F5-B761-7DB3C2CF11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46880726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2556000"/>
            <a:ext cx="2592000" cy="3394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096836" y="2556000"/>
            <a:ext cx="2592000" cy="3394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68279" y="2556000"/>
            <a:ext cx="2592000" cy="3394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32557" y="2556000"/>
            <a:ext cx="2592000" cy="3394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3B6715C-C932-49B3-880D-8C5710C8F9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6EA7B5E5-1F8D-43CD-9AD2-8B87181DC5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056772262"/>
      </p:ext>
    </p:extLst>
  </p:cSld>
  <p:clrMapOvr>
    <a:masterClrMapping/>
  </p:clrMapOvr>
  <p:hf hd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D1AFA9E9-5EB8-42BF-B15A-3D95DDA547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C3F5B0ED-A4CB-4D19-B6B8-CA9E1139E7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15894603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F79D3799-9A6C-45EE-B3ED-0F77AAB658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34244144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F79D3799-9A6C-45EE-B3ED-0F77AAB658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" name="CaseCode">
            <a:extLst>
              <a:ext uri="{FF2B5EF4-FFF2-40B4-BE49-F238E27FC236}">
                <a16:creationId xmlns:a16="http://schemas.microsoft.com/office/drawing/2014/main" id="{D66CB0E9-41C6-A850-2A43-F20FD781D08C}"/>
              </a:ext>
            </a:extLst>
          </p:cNvPr>
          <p:cNvSpPr txBox="1"/>
          <p:nvPr userDrawn="1"/>
        </p:nvSpPr>
        <p:spPr>
          <a:xfrm>
            <a:off x="6335184" y="6477000"/>
            <a:ext cx="489656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LL IN</a:t>
            </a:r>
          </a:p>
        </p:txBody>
      </p:sp>
      <p:sp>
        <p:nvSpPr>
          <p:cNvPr id="3" name="Copyright">
            <a:extLst>
              <a:ext uri="{FF2B5EF4-FFF2-40B4-BE49-F238E27FC236}">
                <a16:creationId xmlns:a16="http://schemas.microsoft.com/office/drawing/2014/main" id="{09186C98-D463-5E16-7590-CC2C68B82C52}"/>
              </a:ext>
            </a:extLst>
          </p:cNvPr>
          <p:cNvSpPr txBox="1"/>
          <p:nvPr userDrawn="1"/>
        </p:nvSpPr>
        <p:spPr>
          <a:xfrm>
            <a:off x="501649" y="6477001"/>
            <a:ext cx="535516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</a:t>
            </a:r>
            <a:r>
              <a:rPr lang="cs-CZ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For information, contact Deloitte Czech Republic.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B9339D2-A262-E78D-375A-8AA0575C6D39}"/>
              </a:ext>
            </a:extLst>
          </p:cNvPr>
          <p:cNvSpPr/>
          <p:nvPr userDrawn="1"/>
        </p:nvSpPr>
        <p:spPr>
          <a:xfrm>
            <a:off x="11555698" y="6473952"/>
            <a:ext cx="121828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fld id="{C58DF478-B544-4ED8-9ED4-6A2648E2D233}" type="slidenum">
              <a:rPr lang="en-US" sz="8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699009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047705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Black Page Image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DEF77F0F-DE6A-48C9-92BD-013174DD643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EE5D7BA0-7E63-4F55-8707-FB998AF96C8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37C1D43B-9933-4650-9DD5-73494BECAE5A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07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BBB00153-52E8-495A-BA32-E581AC7A8A6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03988" y="3780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7" name="Oval 5">
              <a:extLst>
                <a:ext uri="{FF2B5EF4-FFF2-40B4-BE49-F238E27FC236}">
                  <a16:creationId xmlns:a16="http://schemas.microsoft.com/office/drawing/2014/main" id="{EE44E009-869C-4AA1-972F-BFAD35A46F0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DC9A9EB1-2077-4DFD-B533-87E250FD463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9" name="Rectangle 7">
              <a:extLst>
                <a:ext uri="{FF2B5EF4-FFF2-40B4-BE49-F238E27FC236}">
                  <a16:creationId xmlns:a16="http://schemas.microsoft.com/office/drawing/2014/main" id="{33ACF17B-FD5C-45C9-B731-4D7315B1D9C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0" name="Freeform 8">
              <a:extLst>
                <a:ext uri="{FF2B5EF4-FFF2-40B4-BE49-F238E27FC236}">
                  <a16:creationId xmlns:a16="http://schemas.microsoft.com/office/drawing/2014/main" id="{3D32D184-C4ED-4776-9DCC-E3F18CF55C2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1" name="Rectangle 9">
              <a:extLst>
                <a:ext uri="{FF2B5EF4-FFF2-40B4-BE49-F238E27FC236}">
                  <a16:creationId xmlns:a16="http://schemas.microsoft.com/office/drawing/2014/main" id="{090BAC98-B3D7-4E96-B78D-0FE4BD1884B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2" name="Rectangle 10">
              <a:extLst>
                <a:ext uri="{FF2B5EF4-FFF2-40B4-BE49-F238E27FC236}">
                  <a16:creationId xmlns:a16="http://schemas.microsoft.com/office/drawing/2014/main" id="{D81C0B16-CEDA-4DD7-AA0E-D7E98149B00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3" name="Freeform 11">
              <a:extLst>
                <a:ext uri="{FF2B5EF4-FFF2-40B4-BE49-F238E27FC236}">
                  <a16:creationId xmlns:a16="http://schemas.microsoft.com/office/drawing/2014/main" id="{C71424E0-1449-47B0-BF76-7A226D3160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4" name="Freeform 12">
              <a:extLst>
                <a:ext uri="{FF2B5EF4-FFF2-40B4-BE49-F238E27FC236}">
                  <a16:creationId xmlns:a16="http://schemas.microsoft.com/office/drawing/2014/main" id="{39CF108A-51E0-49A1-80F5-6286DB6FEB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5" name="Freeform 13">
              <a:extLst>
                <a:ext uri="{FF2B5EF4-FFF2-40B4-BE49-F238E27FC236}">
                  <a16:creationId xmlns:a16="http://schemas.microsoft.com/office/drawing/2014/main" id="{28BEACF0-05E8-46F1-8AE5-8FF2ADC543E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14">
              <a:extLst>
                <a:ext uri="{FF2B5EF4-FFF2-40B4-BE49-F238E27FC236}">
                  <a16:creationId xmlns:a16="http://schemas.microsoft.com/office/drawing/2014/main" id="{B661CA16-D87B-4315-804A-3E82AE3F0CF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pic>
        <p:nvPicPr>
          <p:cNvPr id="18" name="Picture 17">
            <a:extLst>
              <a:ext uri="{FF2B5EF4-FFF2-40B4-BE49-F238E27FC236}">
                <a16:creationId xmlns:a16="http://schemas.microsoft.com/office/drawing/2014/main" id="{24091ED7-C412-487B-88AC-F1B76F6BA2F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694852" y="5659120"/>
            <a:ext cx="1198880" cy="1198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8671852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01652" y="4211955"/>
            <a:ext cx="8528936" cy="2169796"/>
          </a:xfrm>
        </p:spPr>
        <p:txBody>
          <a:bodyPr anchor="b" anchorCtr="0">
            <a:normAutofit/>
          </a:bodyPr>
          <a:lstStyle>
            <a:lvl1pPr>
              <a:lnSpc>
                <a:spcPct val="100000"/>
              </a:lnSpc>
              <a:spcAft>
                <a:spcPts val="450"/>
              </a:spcAft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BE53F9A5-D017-41A9-87FD-42B8B6C6428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03988" y="3780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5" name="Oval 5">
              <a:extLst>
                <a:ext uri="{FF2B5EF4-FFF2-40B4-BE49-F238E27FC236}">
                  <a16:creationId xmlns:a16="http://schemas.microsoft.com/office/drawing/2014/main" id="{70412374-88D8-4076-97A4-28B9D453A9F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059052DC-E283-45E3-A11B-EFC0EF64057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7" name="Rectangle 7">
              <a:extLst>
                <a:ext uri="{FF2B5EF4-FFF2-40B4-BE49-F238E27FC236}">
                  <a16:creationId xmlns:a16="http://schemas.microsoft.com/office/drawing/2014/main" id="{C8E40EE6-74FE-4B63-ADD7-D8251359CC5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id="{6D34B50B-2467-467F-BE0D-CA832EE3A76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9" name="Rectangle 9">
              <a:extLst>
                <a:ext uri="{FF2B5EF4-FFF2-40B4-BE49-F238E27FC236}">
                  <a16:creationId xmlns:a16="http://schemas.microsoft.com/office/drawing/2014/main" id="{1004DF0B-038C-4CB4-89B3-42D949ED0B9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1" name="Rectangle 10">
              <a:extLst>
                <a:ext uri="{FF2B5EF4-FFF2-40B4-BE49-F238E27FC236}">
                  <a16:creationId xmlns:a16="http://schemas.microsoft.com/office/drawing/2014/main" id="{2FB8C6E0-92EE-49AA-95D9-7BE219F64FE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2" name="Freeform 11">
              <a:extLst>
                <a:ext uri="{FF2B5EF4-FFF2-40B4-BE49-F238E27FC236}">
                  <a16:creationId xmlns:a16="http://schemas.microsoft.com/office/drawing/2014/main" id="{CEE92EC5-3F38-4286-A2DA-7B5E941BC2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Freeform 12">
              <a:extLst>
                <a:ext uri="{FF2B5EF4-FFF2-40B4-BE49-F238E27FC236}">
                  <a16:creationId xmlns:a16="http://schemas.microsoft.com/office/drawing/2014/main" id="{3C2CE8EA-279F-441C-99BC-330C664B32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13">
              <a:extLst>
                <a:ext uri="{FF2B5EF4-FFF2-40B4-BE49-F238E27FC236}">
                  <a16:creationId xmlns:a16="http://schemas.microsoft.com/office/drawing/2014/main" id="{328EA017-C8BA-490A-9F7A-F880FE999A8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Freeform 14">
              <a:extLst>
                <a:ext uri="{FF2B5EF4-FFF2-40B4-BE49-F238E27FC236}">
                  <a16:creationId xmlns:a16="http://schemas.microsoft.com/office/drawing/2014/main" id="{BAE89DBE-19C8-422A-B7E6-D6726124DF5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2189406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 slide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01652" y="4211955"/>
            <a:ext cx="8528936" cy="2169796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Aft>
                <a:spcPts val="450"/>
              </a:spcAft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BBB00153-52E8-495A-BA32-E581AC7A8A6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03988" y="3780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5" name="Oval 5">
              <a:extLst>
                <a:ext uri="{FF2B5EF4-FFF2-40B4-BE49-F238E27FC236}">
                  <a16:creationId xmlns:a16="http://schemas.microsoft.com/office/drawing/2014/main" id="{EE44E009-869C-4AA1-972F-BFAD35A46F0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DC9A9EB1-2077-4DFD-B533-87E250FD463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1" name="Rectangle 7">
              <a:extLst>
                <a:ext uri="{FF2B5EF4-FFF2-40B4-BE49-F238E27FC236}">
                  <a16:creationId xmlns:a16="http://schemas.microsoft.com/office/drawing/2014/main" id="{33ACF17B-FD5C-45C9-B731-4D7315B1D9C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3D32D184-C4ED-4776-9DCC-E3F18CF55C2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3" name="Rectangle 9">
              <a:extLst>
                <a:ext uri="{FF2B5EF4-FFF2-40B4-BE49-F238E27FC236}">
                  <a16:creationId xmlns:a16="http://schemas.microsoft.com/office/drawing/2014/main" id="{090BAC98-B3D7-4E96-B78D-0FE4BD1884B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4" name="Rectangle 10">
              <a:extLst>
                <a:ext uri="{FF2B5EF4-FFF2-40B4-BE49-F238E27FC236}">
                  <a16:creationId xmlns:a16="http://schemas.microsoft.com/office/drawing/2014/main" id="{D81C0B16-CEDA-4DD7-AA0E-D7E98149B00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C71424E0-1449-47B0-BF76-7A226D3160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6" name="Freeform 12">
              <a:extLst>
                <a:ext uri="{FF2B5EF4-FFF2-40B4-BE49-F238E27FC236}">
                  <a16:creationId xmlns:a16="http://schemas.microsoft.com/office/drawing/2014/main" id="{39CF108A-51E0-49A1-80F5-6286DB6FEB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7" name="Freeform 13">
              <a:extLst>
                <a:ext uri="{FF2B5EF4-FFF2-40B4-BE49-F238E27FC236}">
                  <a16:creationId xmlns:a16="http://schemas.microsoft.com/office/drawing/2014/main" id="{28BEACF0-05E8-46F1-8AE5-8FF2ADC543E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8" name="Freeform 14">
              <a:extLst>
                <a:ext uri="{FF2B5EF4-FFF2-40B4-BE49-F238E27FC236}">
                  <a16:creationId xmlns:a16="http://schemas.microsoft.com/office/drawing/2014/main" id="{B661CA16-D87B-4315-804A-3E82AE3F0CF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48204725"/>
      </p:ext>
    </p:extLst>
  </p:cSld>
  <p:clrMapOvr>
    <a:masterClrMapping/>
  </p:clrMapOvr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Picture Placeholder 8">
            <a:extLst>
              <a:ext uri="{FF2B5EF4-FFF2-40B4-BE49-F238E27FC236}">
                <a16:creationId xmlns:a16="http://schemas.microsoft.com/office/drawing/2014/main" id="{AC175F74-77C8-4969-BBF5-920619ED762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96000" y="729000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2" y="5186209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2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BE53F9A5-D017-41A9-87FD-42B8B6C6428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03988" y="3780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8" name="Oval 5">
              <a:extLst>
                <a:ext uri="{FF2B5EF4-FFF2-40B4-BE49-F238E27FC236}">
                  <a16:creationId xmlns:a16="http://schemas.microsoft.com/office/drawing/2014/main" id="{70412374-88D8-4076-97A4-28B9D453A9F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059052DC-E283-45E3-A11B-EFC0EF64057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0" name="Rectangle 7">
              <a:extLst>
                <a:ext uri="{FF2B5EF4-FFF2-40B4-BE49-F238E27FC236}">
                  <a16:creationId xmlns:a16="http://schemas.microsoft.com/office/drawing/2014/main" id="{C8E40EE6-74FE-4B63-ADD7-D8251359CC5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1" name="Freeform 8">
              <a:extLst>
                <a:ext uri="{FF2B5EF4-FFF2-40B4-BE49-F238E27FC236}">
                  <a16:creationId xmlns:a16="http://schemas.microsoft.com/office/drawing/2014/main" id="{6D34B50B-2467-467F-BE0D-CA832EE3A76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2" name="Rectangle 9">
              <a:extLst>
                <a:ext uri="{FF2B5EF4-FFF2-40B4-BE49-F238E27FC236}">
                  <a16:creationId xmlns:a16="http://schemas.microsoft.com/office/drawing/2014/main" id="{1004DF0B-038C-4CB4-89B3-42D949ED0B9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3" name="Rectangle 10">
              <a:extLst>
                <a:ext uri="{FF2B5EF4-FFF2-40B4-BE49-F238E27FC236}">
                  <a16:creationId xmlns:a16="http://schemas.microsoft.com/office/drawing/2014/main" id="{2FB8C6E0-92EE-49AA-95D9-7BE219F64FE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11">
              <a:extLst>
                <a:ext uri="{FF2B5EF4-FFF2-40B4-BE49-F238E27FC236}">
                  <a16:creationId xmlns:a16="http://schemas.microsoft.com/office/drawing/2014/main" id="{CEE92EC5-3F38-4286-A2DA-7B5E941BC2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5" name="Freeform 12">
              <a:extLst>
                <a:ext uri="{FF2B5EF4-FFF2-40B4-BE49-F238E27FC236}">
                  <a16:creationId xmlns:a16="http://schemas.microsoft.com/office/drawing/2014/main" id="{3C2CE8EA-279F-441C-99BC-330C664B32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6" name="Freeform 13">
              <a:extLst>
                <a:ext uri="{FF2B5EF4-FFF2-40B4-BE49-F238E27FC236}">
                  <a16:creationId xmlns:a16="http://schemas.microsoft.com/office/drawing/2014/main" id="{328EA017-C8BA-490A-9F7A-F880FE999A8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0" name="Freeform 14">
              <a:extLst>
                <a:ext uri="{FF2B5EF4-FFF2-40B4-BE49-F238E27FC236}">
                  <a16:creationId xmlns:a16="http://schemas.microsoft.com/office/drawing/2014/main" id="{BAE89DBE-19C8-422A-B7E6-D6726124DF5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pic>
        <p:nvPicPr>
          <p:cNvPr id="16" name="Picture 15">
            <a:extLst>
              <a:ext uri="{FF2B5EF4-FFF2-40B4-BE49-F238E27FC236}">
                <a16:creationId xmlns:a16="http://schemas.microsoft.com/office/drawing/2014/main" id="{E8EE22A3-A8E5-4756-88EE-FC6D60FE64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694852" y="5659120"/>
            <a:ext cx="1198880" cy="1198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8390910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670834"/>
            <a:ext cx="10541000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124541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green accent 4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aseCode">
            <a:extLst>
              <a:ext uri="{FF2B5EF4-FFF2-40B4-BE49-F238E27FC236}">
                <a16:creationId xmlns:a16="http://schemas.microsoft.com/office/drawing/2014/main" id="{452A60FA-C95E-401E-9AF3-D27C8C88BCCB}"/>
              </a:ext>
            </a:extLst>
          </p:cNvPr>
          <p:cNvSpPr txBox="1"/>
          <p:nvPr/>
        </p:nvSpPr>
        <p:spPr>
          <a:xfrm>
            <a:off x="6335184" y="6477000"/>
            <a:ext cx="489656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CA24B28E-5B13-4779-8D72-C52A20B99FE7}"/>
              </a:ext>
            </a:extLst>
          </p:cNvPr>
          <p:cNvSpPr txBox="1"/>
          <p:nvPr/>
        </p:nvSpPr>
        <p:spPr>
          <a:xfrm>
            <a:off x="501649" y="6477001"/>
            <a:ext cx="535516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</a:t>
            </a:r>
            <a:r>
              <a:rPr lang="cs-CZ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For information, contact Deloitte Czech Republic.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69DBDC7-DF0D-40FE-8DE0-1C33F8DF42EC}"/>
              </a:ext>
            </a:extLst>
          </p:cNvPr>
          <p:cNvSpPr/>
          <p:nvPr userDrawn="1"/>
        </p:nvSpPr>
        <p:spPr>
          <a:xfrm>
            <a:off x="11555698" y="6473952"/>
            <a:ext cx="121828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fld id="{C58DF478-B544-4ED8-9ED4-6A2648E2D233}" type="slidenum">
              <a:rPr lang="en-US" sz="8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38769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aseCode">
            <a:extLst>
              <a:ext uri="{FF2B5EF4-FFF2-40B4-BE49-F238E27FC236}">
                <a16:creationId xmlns:a16="http://schemas.microsoft.com/office/drawing/2014/main" id="{E8E60749-A3E0-4E09-BF50-6D6B361BEF91}"/>
              </a:ext>
            </a:extLst>
          </p:cNvPr>
          <p:cNvSpPr txBox="1"/>
          <p:nvPr/>
        </p:nvSpPr>
        <p:spPr>
          <a:xfrm>
            <a:off x="6335184" y="6477000"/>
            <a:ext cx="489656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2AD12011-8F73-49BB-8C12-BDC820477529}"/>
              </a:ext>
            </a:extLst>
          </p:cNvPr>
          <p:cNvSpPr txBox="1"/>
          <p:nvPr/>
        </p:nvSpPr>
        <p:spPr>
          <a:xfrm>
            <a:off x="501649" y="6477001"/>
            <a:ext cx="535516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</a:t>
            </a:r>
            <a:r>
              <a:rPr lang="cs-CZ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For information, contact Deloitte Czech Republic.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69DBDC7-DF0D-40FE-8DE0-1C33F8DF42EC}"/>
              </a:ext>
            </a:extLst>
          </p:cNvPr>
          <p:cNvSpPr/>
          <p:nvPr userDrawn="1"/>
        </p:nvSpPr>
        <p:spPr>
          <a:xfrm>
            <a:off x="11555698" y="6473952"/>
            <a:ext cx="121828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fld id="{C58DF478-B544-4ED8-9ED4-6A2648E2D233}" type="slidenum">
              <a:rPr lang="en-US" sz="8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51241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 accent 1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0215"/>
            <a:ext cx="10418233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Copyright">
            <a:extLst>
              <a:ext uri="{FF2B5EF4-FFF2-40B4-BE49-F238E27FC236}">
                <a16:creationId xmlns:a16="http://schemas.microsoft.com/office/drawing/2014/main" id="{2AD12011-8F73-49BB-8C12-BDC820477529}"/>
              </a:ext>
            </a:extLst>
          </p:cNvPr>
          <p:cNvSpPr txBox="1"/>
          <p:nvPr userDrawn="1"/>
        </p:nvSpPr>
        <p:spPr>
          <a:xfrm>
            <a:off x="501649" y="6477001"/>
            <a:ext cx="535516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</a:t>
            </a:r>
            <a:r>
              <a:rPr lang="cs-CZ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For information, contact Deloitte Czech Republic. </a:t>
            </a:r>
          </a:p>
        </p:txBody>
      </p:sp>
      <p:sp>
        <p:nvSpPr>
          <p:cNvPr id="11" name="CaseCode">
            <a:extLst>
              <a:ext uri="{FF2B5EF4-FFF2-40B4-BE49-F238E27FC236}">
                <a16:creationId xmlns:a16="http://schemas.microsoft.com/office/drawing/2014/main" id="{BFFD92C3-7ED3-4D3C-8518-BD2C1CF3A89D}"/>
              </a:ext>
            </a:extLst>
          </p:cNvPr>
          <p:cNvSpPr txBox="1"/>
          <p:nvPr userDrawn="1"/>
        </p:nvSpPr>
        <p:spPr>
          <a:xfrm>
            <a:off x="6335184" y="6477000"/>
            <a:ext cx="489656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8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69DBDC7-DF0D-40FE-8DE0-1C33F8DF42EC}"/>
              </a:ext>
            </a:extLst>
          </p:cNvPr>
          <p:cNvSpPr/>
          <p:nvPr userDrawn="1"/>
        </p:nvSpPr>
        <p:spPr>
          <a:xfrm>
            <a:off x="11555698" y="6473952"/>
            <a:ext cx="121828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fld id="{C58DF478-B544-4ED8-9ED4-6A2648E2D233}" type="slidenum">
              <a:rPr lang="en-US" sz="8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slideLayout" Target="../slideLayouts/slideLayout15.xml"/><Relationship Id="rId18" Type="http://schemas.openxmlformats.org/officeDocument/2006/relationships/slideLayout" Target="../slideLayouts/slideLayout20.xml"/><Relationship Id="rId26" Type="http://schemas.openxmlformats.org/officeDocument/2006/relationships/slideLayout" Target="../slideLayouts/slideLayout28.xml"/><Relationship Id="rId39" Type="http://schemas.openxmlformats.org/officeDocument/2006/relationships/slideLayout" Target="../slideLayouts/slideLayout41.xml"/><Relationship Id="rId3" Type="http://schemas.openxmlformats.org/officeDocument/2006/relationships/slideLayout" Target="../slideLayouts/slideLayout5.xml"/><Relationship Id="rId21" Type="http://schemas.openxmlformats.org/officeDocument/2006/relationships/slideLayout" Target="../slideLayouts/slideLayout23.xml"/><Relationship Id="rId34" Type="http://schemas.openxmlformats.org/officeDocument/2006/relationships/slideLayout" Target="../slideLayouts/slideLayout36.xml"/><Relationship Id="rId42" Type="http://schemas.openxmlformats.org/officeDocument/2006/relationships/oleObject" Target="../embeddings/oleObject1.bin"/><Relationship Id="rId7" Type="http://schemas.openxmlformats.org/officeDocument/2006/relationships/slideLayout" Target="../slideLayouts/slideLayout9.xml"/><Relationship Id="rId12" Type="http://schemas.openxmlformats.org/officeDocument/2006/relationships/slideLayout" Target="../slideLayouts/slideLayout14.xml"/><Relationship Id="rId17" Type="http://schemas.openxmlformats.org/officeDocument/2006/relationships/slideLayout" Target="../slideLayouts/slideLayout19.xml"/><Relationship Id="rId25" Type="http://schemas.openxmlformats.org/officeDocument/2006/relationships/slideLayout" Target="../slideLayouts/slideLayout27.xml"/><Relationship Id="rId33" Type="http://schemas.openxmlformats.org/officeDocument/2006/relationships/slideLayout" Target="../slideLayouts/slideLayout35.xml"/><Relationship Id="rId38" Type="http://schemas.openxmlformats.org/officeDocument/2006/relationships/slideLayout" Target="../slideLayouts/slideLayout40.xml"/><Relationship Id="rId2" Type="http://schemas.openxmlformats.org/officeDocument/2006/relationships/slideLayout" Target="../slideLayouts/slideLayout4.xml"/><Relationship Id="rId16" Type="http://schemas.openxmlformats.org/officeDocument/2006/relationships/slideLayout" Target="../slideLayouts/slideLayout18.xml"/><Relationship Id="rId20" Type="http://schemas.openxmlformats.org/officeDocument/2006/relationships/slideLayout" Target="../slideLayouts/slideLayout22.xml"/><Relationship Id="rId29" Type="http://schemas.openxmlformats.org/officeDocument/2006/relationships/slideLayout" Target="../slideLayouts/slideLayout31.xml"/><Relationship Id="rId41" Type="http://schemas.openxmlformats.org/officeDocument/2006/relationships/tags" Target="../tags/tag1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24" Type="http://schemas.openxmlformats.org/officeDocument/2006/relationships/slideLayout" Target="../slideLayouts/slideLayout26.xml"/><Relationship Id="rId32" Type="http://schemas.openxmlformats.org/officeDocument/2006/relationships/slideLayout" Target="../slideLayouts/slideLayout34.xml"/><Relationship Id="rId37" Type="http://schemas.openxmlformats.org/officeDocument/2006/relationships/slideLayout" Target="../slideLayouts/slideLayout39.xml"/><Relationship Id="rId40" Type="http://schemas.openxmlformats.org/officeDocument/2006/relationships/theme" Target="../theme/theme2.xml"/><Relationship Id="rId5" Type="http://schemas.openxmlformats.org/officeDocument/2006/relationships/slideLayout" Target="../slideLayouts/slideLayout7.xml"/><Relationship Id="rId15" Type="http://schemas.openxmlformats.org/officeDocument/2006/relationships/slideLayout" Target="../slideLayouts/slideLayout17.xml"/><Relationship Id="rId23" Type="http://schemas.openxmlformats.org/officeDocument/2006/relationships/slideLayout" Target="../slideLayouts/slideLayout25.xml"/><Relationship Id="rId28" Type="http://schemas.openxmlformats.org/officeDocument/2006/relationships/slideLayout" Target="../slideLayouts/slideLayout30.xml"/><Relationship Id="rId36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12.xml"/><Relationship Id="rId19" Type="http://schemas.openxmlformats.org/officeDocument/2006/relationships/slideLayout" Target="../slideLayouts/slideLayout21.xml"/><Relationship Id="rId31" Type="http://schemas.openxmlformats.org/officeDocument/2006/relationships/slideLayout" Target="../slideLayouts/slideLayout33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Relationship Id="rId14" Type="http://schemas.openxmlformats.org/officeDocument/2006/relationships/slideLayout" Target="../slideLayouts/slideLayout16.xml"/><Relationship Id="rId22" Type="http://schemas.openxmlformats.org/officeDocument/2006/relationships/slideLayout" Target="../slideLayouts/slideLayout24.xml"/><Relationship Id="rId27" Type="http://schemas.openxmlformats.org/officeDocument/2006/relationships/slideLayout" Target="../slideLayouts/slideLayout29.xml"/><Relationship Id="rId30" Type="http://schemas.openxmlformats.org/officeDocument/2006/relationships/slideLayout" Target="../slideLayouts/slideLayout32.xml"/><Relationship Id="rId35" Type="http://schemas.openxmlformats.org/officeDocument/2006/relationships/slideLayout" Target="../slideLayouts/slideLayout37.xml"/><Relationship Id="rId43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865331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4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47675" indent="-447675" algn="l" defTabSz="914400" rtl="0" eaLnBrk="1" latinLnBrk="0" hangingPunct="1">
        <a:lnSpc>
          <a:spcPct val="110000"/>
        </a:lnSpc>
        <a:spcBef>
          <a:spcPts val="1000"/>
        </a:spcBef>
        <a:buClr>
          <a:schemeClr val="tx1"/>
        </a:buClr>
        <a:buFont typeface="Montserrat Medium" panose="00000600000000000000" pitchFamily="2" charset="-18"/>
        <a:buChar char="—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10000"/>
        </a:lnSpc>
        <a:spcBef>
          <a:spcPts val="500"/>
        </a:spcBef>
        <a:buClr>
          <a:schemeClr val="tx1"/>
        </a:buClr>
        <a:buFont typeface="Montserrat Medium" panose="00000600000000000000" pitchFamily="2" charset="-18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500"/>
        </a:spcBef>
        <a:buClr>
          <a:schemeClr val="tx1"/>
        </a:buClr>
        <a:buFont typeface="Montserrat Medium" panose="00000600000000000000" pitchFamily="2" charset="-18"/>
        <a:buChar char="‐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500"/>
        </a:spcBef>
        <a:buClr>
          <a:schemeClr val="tx1"/>
        </a:buClr>
        <a:buFont typeface="Montserrat Medium" panose="00000600000000000000" pitchFamily="2" charset="-18"/>
        <a:buChar char="‐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500"/>
        </a:spcBef>
        <a:buClr>
          <a:schemeClr val="tx1"/>
        </a:buClr>
        <a:buFont typeface="Montserrat Medium" panose="00000600000000000000" pitchFamily="2" charset="-18"/>
        <a:buChar char="‐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2" imgW="270" imgH="270" progId="TCLayout.ActiveDocument.1">
                  <p:embed/>
                </p:oleObj>
              </mc:Choice>
              <mc:Fallback>
                <p:oleObj name="think-cell Slide" r:id="rId42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3098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5" name="CaseCode"/>
          <p:cNvSpPr txBox="1"/>
          <p:nvPr/>
        </p:nvSpPr>
        <p:spPr>
          <a:xfrm>
            <a:off x="6335184" y="6477000"/>
            <a:ext cx="489656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LL IN</a:t>
            </a:r>
          </a:p>
        </p:txBody>
      </p:sp>
      <p:sp>
        <p:nvSpPr>
          <p:cNvPr id="18" name="Copyright"/>
          <p:cNvSpPr txBox="1"/>
          <p:nvPr/>
        </p:nvSpPr>
        <p:spPr>
          <a:xfrm>
            <a:off x="501649" y="6477001"/>
            <a:ext cx="535516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8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 202</a:t>
            </a:r>
            <a:r>
              <a:rPr lang="cs-CZ" sz="8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lang="en-US" sz="800" noProof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For information, contact Deloitte Czech Republic. 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0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69DBDC7-DF0D-40FE-8DE0-1C33F8DF42EC}"/>
              </a:ext>
            </a:extLst>
          </p:cNvPr>
          <p:cNvSpPr/>
          <p:nvPr userDrawn="1"/>
        </p:nvSpPr>
        <p:spPr>
          <a:xfrm>
            <a:off x="11555698" y="6473952"/>
            <a:ext cx="121828" cy="12311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fld id="{C58DF478-B544-4ED8-9ED4-6A2648E2D233}" type="slidenum">
              <a:rPr lang="en-US" sz="800" noProof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/>
              <a:t>‹#›</a:t>
            </a:fld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224265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  <p:sldLayoutId id="2147483702" r:id="rId12"/>
    <p:sldLayoutId id="2147483703" r:id="rId13"/>
    <p:sldLayoutId id="2147483704" r:id="rId14"/>
    <p:sldLayoutId id="2147483705" r:id="rId15"/>
    <p:sldLayoutId id="2147483706" r:id="rId16"/>
    <p:sldLayoutId id="2147483707" r:id="rId17"/>
    <p:sldLayoutId id="2147483708" r:id="rId18"/>
    <p:sldLayoutId id="2147483709" r:id="rId19"/>
    <p:sldLayoutId id="2147483710" r:id="rId20"/>
    <p:sldLayoutId id="2147483711" r:id="rId21"/>
    <p:sldLayoutId id="2147483712" r:id="rId22"/>
    <p:sldLayoutId id="2147483713" r:id="rId23"/>
    <p:sldLayoutId id="2147483714" r:id="rId24"/>
    <p:sldLayoutId id="2147483715" r:id="rId25"/>
    <p:sldLayoutId id="2147483716" r:id="rId26"/>
    <p:sldLayoutId id="2147483717" r:id="rId27"/>
    <p:sldLayoutId id="2147483718" r:id="rId28"/>
    <p:sldLayoutId id="2147483719" r:id="rId29"/>
    <p:sldLayoutId id="2147483720" r:id="rId30"/>
    <p:sldLayoutId id="2147483721" r:id="rId31"/>
    <p:sldLayoutId id="2147483722" r:id="rId32"/>
    <p:sldLayoutId id="2147483723" r:id="rId33"/>
    <p:sldLayoutId id="2147483724" r:id="rId34"/>
    <p:sldLayoutId id="2147483725" r:id="rId35"/>
    <p:sldLayoutId id="2147483726" r:id="rId36"/>
    <p:sldLayoutId id="2147483727" r:id="rId37"/>
    <p:sldLayoutId id="2147483728" r:id="rId38"/>
    <p:sldLayoutId id="2147483729" r:id="rId39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100" kern="1200">
          <a:solidFill>
            <a:schemeClr val="tx1"/>
          </a:solidFill>
          <a:latin typeface="+mn-lt"/>
          <a:ea typeface="+mj-ea"/>
          <a:cs typeface="Calibri Light" panose="020F0302020204030204" pitchFamily="34" charset="0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Tx/>
        <a:buNone/>
        <a:defRPr sz="1300" b="0" kern="120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1pPr>
      <a:lvl2pPr marL="139700" indent="-139700" algn="l" defTabSz="914400" rtl="0" eaLnBrk="1" latinLnBrk="0" hangingPunct="1">
        <a:spcBef>
          <a:spcPts val="0"/>
        </a:spcBef>
        <a:spcAft>
          <a:spcPts val="10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300" b="0" kern="1200" dirty="0" smtClean="0">
          <a:solidFill>
            <a:schemeClr val="tx1"/>
          </a:solidFill>
          <a:latin typeface="+mj-lt"/>
          <a:ea typeface="+mn-ea"/>
          <a:cs typeface="Calibri Light" panose="020F0302020204030204" pitchFamily="34" charset="0"/>
        </a:defRPr>
      </a:lvl2pPr>
      <a:lvl3pPr marL="304800" indent="-139700" algn="l" defTabSz="914400" rtl="0" eaLnBrk="1" latinLnBrk="0" hangingPunct="1">
        <a:spcBef>
          <a:spcPts val="0"/>
        </a:spcBef>
        <a:spcAft>
          <a:spcPts val="1000"/>
        </a:spcAft>
        <a:buClr>
          <a:schemeClr val="tx1"/>
        </a:buClr>
        <a:buSzPct val="100000"/>
        <a:buFont typeface="Arial" panose="020B0604020202020204" pitchFamily="34" charset="0"/>
        <a:buChar char="−"/>
        <a:defRPr lang="en-US" sz="1300" kern="120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3pPr>
      <a:lvl4pPr marL="469900" indent="-139700" algn="l" defTabSz="914400" rtl="0" eaLnBrk="1" latinLnBrk="0" hangingPunct="1">
        <a:spcBef>
          <a:spcPts val="0"/>
        </a:spcBef>
        <a:spcAft>
          <a:spcPts val="1000"/>
        </a:spcAft>
        <a:buClr>
          <a:schemeClr val="tx1"/>
        </a:buClr>
        <a:buSzPct val="100000"/>
        <a:buFont typeface="Arial" panose="020B0604020202020204" pitchFamily="34" charset="0"/>
        <a:buChar char="◦"/>
        <a:defRPr lang="en-US" sz="13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4pPr>
      <a:lvl5pPr marL="635000" indent="-139700" algn="l" defTabSz="798513" rtl="0" eaLnBrk="1" latinLnBrk="0" hangingPunct="1">
        <a:spcBef>
          <a:spcPts val="0"/>
        </a:spcBef>
        <a:spcAft>
          <a:spcPts val="1000"/>
        </a:spcAft>
        <a:buClr>
          <a:schemeClr val="tx1"/>
        </a:buClr>
        <a:buSzPct val="100000"/>
        <a:buFont typeface="Arial" panose="020B0604020202020204" pitchFamily="34" charset="0"/>
        <a:buChar char="−"/>
        <a:tabLst/>
        <a:defRPr lang="en-US" sz="13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312">
          <p15:clr>
            <a:srgbClr val="F26B43"/>
          </p15:clr>
        </p15:guide>
        <p15:guide id="3" pos="1392">
          <p15:clr>
            <a:srgbClr val="F26B43"/>
          </p15:clr>
        </p15:guide>
        <p15:guide id="4" pos="1512">
          <p15:clr>
            <a:srgbClr val="F26B43"/>
          </p15:clr>
        </p15:guide>
        <p15:guide id="5" pos="2592">
          <p15:clr>
            <a:srgbClr val="F26B43"/>
          </p15:clr>
        </p15:guide>
        <p15:guide id="6" pos="2712">
          <p15:clr>
            <a:srgbClr val="F26B43"/>
          </p15:clr>
        </p15:guide>
        <p15:guide id="7" pos="3768">
          <p15:clr>
            <a:srgbClr val="F26B43"/>
          </p15:clr>
        </p15:guide>
        <p15:guide id="8" pos="7368">
          <p15:clr>
            <a:srgbClr val="F26B43"/>
          </p15:clr>
        </p15:guide>
        <p15:guide id="9" pos="6288">
          <p15:clr>
            <a:srgbClr val="F26B43"/>
          </p15:clr>
        </p15:guide>
        <p15:guide id="10" pos="6168">
          <p15:clr>
            <a:srgbClr val="F26B43"/>
          </p15:clr>
        </p15:guide>
        <p15:guide id="11" pos="5088">
          <p15:clr>
            <a:srgbClr val="F26B43"/>
          </p15:clr>
        </p15:guide>
        <p15:guide id="12" pos="4968">
          <p15:clr>
            <a:srgbClr val="F26B43"/>
          </p15:clr>
        </p15:guide>
        <p15:guide id="13" pos="3912">
          <p15:clr>
            <a:srgbClr val="F26B43"/>
          </p15:clr>
        </p15:guide>
        <p15:guide id="14" orient="horz" pos="4104">
          <p15:clr>
            <a:srgbClr val="F26B43"/>
          </p15:clr>
        </p15:guide>
        <p15:guide id="15" orient="horz" pos="4032">
          <p15:clr>
            <a:srgbClr val="F26B43"/>
          </p15:clr>
        </p15:guide>
        <p15:guide id="16" orient="horz" pos="2232">
          <p15:clr>
            <a:srgbClr val="F26B43"/>
          </p15:clr>
        </p15:guide>
        <p15:guide id="17" orient="horz" pos="1056">
          <p15:clr>
            <a:srgbClr val="F26B43"/>
          </p15:clr>
        </p15:guide>
        <p15:guide id="18" orient="horz" pos="19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.png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.png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.png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.png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.png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.png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646C5FBF-ED80-AB07-5A57-88B996CE8D41}"/>
              </a:ext>
            </a:extLst>
          </p:cNvPr>
          <p:cNvSpPr/>
          <p:nvPr/>
        </p:nvSpPr>
        <p:spPr>
          <a:xfrm>
            <a:off x="730985" y="590309"/>
            <a:ext cx="10730029" cy="41957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lnSpc>
                <a:spcPct val="100000"/>
              </a:lnSpc>
              <a:buNone/>
            </a:pPr>
            <a:endParaRPr lang="cs-CZ" sz="1800" b="1" dirty="0">
              <a:solidFill>
                <a:schemeClr val="bg1"/>
              </a:solidFill>
            </a:endParaRPr>
          </a:p>
          <a:p>
            <a:pPr marL="0" indent="0" algn="ctr">
              <a:lnSpc>
                <a:spcPct val="100000"/>
              </a:lnSpc>
              <a:buNone/>
            </a:pPr>
            <a:endParaRPr lang="cs-CZ" b="1" dirty="0">
              <a:solidFill>
                <a:schemeClr val="bg1"/>
              </a:solidFill>
            </a:endParaRPr>
          </a:p>
          <a:p>
            <a:pPr marL="0" indent="0" algn="ctr">
              <a:lnSpc>
                <a:spcPct val="100000"/>
              </a:lnSpc>
              <a:buNone/>
            </a:pPr>
            <a:endParaRPr lang="cs-CZ" sz="1800" b="1" dirty="0">
              <a:solidFill>
                <a:schemeClr val="bg1"/>
              </a:solidFill>
            </a:endParaRPr>
          </a:p>
          <a:p>
            <a:pPr marL="0" indent="0" algn="ctr">
              <a:lnSpc>
                <a:spcPct val="100000"/>
              </a:lnSpc>
              <a:buNone/>
            </a:pPr>
            <a:endParaRPr lang="cs-CZ" sz="1800" b="1" dirty="0">
              <a:solidFill>
                <a:schemeClr val="tx1"/>
              </a:solidFill>
            </a:endParaRPr>
          </a:p>
        </p:txBody>
      </p:sp>
      <p:sp>
        <p:nvSpPr>
          <p:cNvPr id="5" name="Nadpis 4">
            <a:extLst>
              <a:ext uri="{FF2B5EF4-FFF2-40B4-BE49-F238E27FC236}">
                <a16:creationId xmlns:a16="http://schemas.microsoft.com/office/drawing/2014/main" id="{2B5B1DA1-4D16-A509-D34F-57A58F748108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1134716" y="987882"/>
            <a:ext cx="9922566" cy="3400554"/>
          </a:xfrm>
          <a:prstGeom prst="rect">
            <a:avLst/>
          </a:prstGeom>
        </p:spPr>
        <p:txBody>
          <a:bodyPr>
            <a:noAutofit/>
          </a:bodyPr>
          <a:lstStyle/>
          <a:p>
            <a:pPr algn="ctr">
              <a:lnSpc>
                <a:spcPct val="100000"/>
              </a:lnSpc>
            </a:pPr>
            <a:br>
              <a:rPr lang="cs-CZ" sz="2800" dirty="0"/>
            </a:br>
            <a:r>
              <a:rPr lang="cs-CZ" sz="4800" b="1" dirty="0">
                <a:solidFill>
                  <a:prstClr val="black"/>
                </a:solidFill>
                <a:latin typeface="Montserrat Medium"/>
                <a:cs typeface="Calibri" panose="020F0502020204030204" pitchFamily="34" charset="0"/>
              </a:rPr>
              <a:t>Podpora mladých talentů:</a:t>
            </a:r>
            <a:br>
              <a:rPr lang="cs-CZ" sz="4800" b="1" dirty="0">
                <a:solidFill>
                  <a:prstClr val="black"/>
                </a:solidFill>
                <a:latin typeface="Montserrat Medium"/>
                <a:cs typeface="Calibri" panose="020F0502020204030204" pitchFamily="34" charset="0"/>
              </a:rPr>
            </a:br>
            <a:r>
              <a:rPr lang="cs-CZ" sz="3600" dirty="0">
                <a:solidFill>
                  <a:prstClr val="black"/>
                </a:solidFill>
                <a:latin typeface="Montserrat Medium"/>
                <a:cs typeface="Calibri" panose="020F0502020204030204" pitchFamily="34" charset="0"/>
              </a:rPr>
              <a:t>investice do naší budoucnosti </a:t>
            </a:r>
            <a:br>
              <a:rPr lang="cs-CZ" sz="4800" b="1" dirty="0">
                <a:solidFill>
                  <a:prstClr val="black"/>
                </a:solidFill>
                <a:latin typeface="Montserrat Medium"/>
                <a:cs typeface="Calibri" panose="020F0502020204030204" pitchFamily="34" charset="0"/>
              </a:rPr>
            </a:br>
            <a:br>
              <a:rPr lang="cs-CZ" sz="2800" b="1" dirty="0">
                <a:solidFill>
                  <a:prstClr val="black"/>
                </a:solidFill>
                <a:latin typeface="Montserrat Medium"/>
                <a:cs typeface="Calibri" panose="020F0502020204030204" pitchFamily="34" charset="0"/>
              </a:rPr>
            </a:br>
            <a:r>
              <a:rPr lang="cs-CZ" sz="2000" dirty="0">
                <a:solidFill>
                  <a:prstClr val="black"/>
                </a:solidFill>
                <a:latin typeface="Montserrat Medium"/>
                <a:cs typeface="Calibri" panose="020F0502020204030204" pitchFamily="34" charset="0"/>
              </a:rPr>
              <a:t>28.5.2024</a:t>
            </a:r>
            <a:br>
              <a:rPr lang="cs-CZ" sz="2000" dirty="0">
                <a:solidFill>
                  <a:prstClr val="black"/>
                </a:solidFill>
                <a:latin typeface="Montserrat Medium"/>
                <a:cs typeface="Calibri" panose="020F0502020204030204" pitchFamily="34" charset="0"/>
              </a:rPr>
            </a:br>
            <a:br>
              <a:rPr lang="cs-CZ" sz="2000" dirty="0">
                <a:solidFill>
                  <a:prstClr val="black"/>
                </a:solidFill>
                <a:latin typeface="Montserrat Medium"/>
                <a:cs typeface="Calibri" panose="020F0502020204030204" pitchFamily="34" charset="0"/>
              </a:rPr>
            </a:br>
            <a:r>
              <a:rPr lang="cs-CZ" sz="2000" b="1" dirty="0">
                <a:solidFill>
                  <a:prstClr val="black"/>
                </a:solidFill>
                <a:latin typeface="Montserrat Medium"/>
                <a:cs typeface="Calibri" panose="020F0502020204030204" pitchFamily="34" charset="0"/>
              </a:rPr>
              <a:t>Evropský měsíc diverzity</a:t>
            </a:r>
            <a:endParaRPr lang="cs-CZ" sz="1400" b="1" dirty="0"/>
          </a:p>
        </p:txBody>
      </p:sp>
      <p:pic>
        <p:nvPicPr>
          <p:cNvPr id="16" name="Grafický objekt 15">
            <a:extLst>
              <a:ext uri="{FF2B5EF4-FFF2-40B4-BE49-F238E27FC236}">
                <a16:creationId xmlns:a16="http://schemas.microsoft.com/office/drawing/2014/main" id="{0EF25077-7216-FC44-F6C4-93B6332849C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145951" y="5240663"/>
            <a:ext cx="1667601" cy="795743"/>
          </a:xfrm>
          <a:prstGeom prst="rect">
            <a:avLst/>
          </a:prstGeom>
        </p:spPr>
      </p:pic>
      <p:pic>
        <p:nvPicPr>
          <p:cNvPr id="7" name="Grafický objekt 6">
            <a:extLst>
              <a:ext uri="{FF2B5EF4-FFF2-40B4-BE49-F238E27FC236}">
                <a16:creationId xmlns:a16="http://schemas.microsoft.com/office/drawing/2014/main" id="{8D6494B9-AD8D-9F50-92D4-1D1926DB2B9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28657" y="5218001"/>
            <a:ext cx="1765906" cy="816731"/>
          </a:xfrm>
          <a:prstGeom prst="rect">
            <a:avLst/>
          </a:prstGeom>
        </p:spPr>
      </p:pic>
      <p:pic>
        <p:nvPicPr>
          <p:cNvPr id="6" name="Obrázek 5">
            <a:extLst>
              <a:ext uri="{FF2B5EF4-FFF2-40B4-BE49-F238E27FC236}">
                <a16:creationId xmlns:a16="http://schemas.microsoft.com/office/drawing/2014/main" id="{E7161CFF-8B27-1D2A-38B2-37BFF0BA1BEC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26888" t="35257" r="9123" b="24549"/>
          <a:stretch/>
        </p:blipFill>
        <p:spPr>
          <a:xfrm>
            <a:off x="8430262" y="5092240"/>
            <a:ext cx="2797692" cy="9558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568141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obsah 1">
            <a:extLst>
              <a:ext uri="{FF2B5EF4-FFF2-40B4-BE49-F238E27FC236}">
                <a16:creationId xmlns:a16="http://schemas.microsoft.com/office/drawing/2014/main" id="{23EAE5E0-D169-5944-E477-FF7F23B5D87B}"/>
              </a:ext>
            </a:extLst>
          </p:cNvPr>
          <p:cNvSpPr txBox="1">
            <a:spLocks/>
          </p:cNvSpPr>
          <p:nvPr/>
        </p:nvSpPr>
        <p:spPr>
          <a:xfrm>
            <a:off x="898962" y="1053682"/>
            <a:ext cx="10482565" cy="4075132"/>
          </a:xfrm>
          <a:prstGeom prst="rect">
            <a:avLst/>
          </a:prstGeom>
          <a:solidFill>
            <a:srgbClr val="43E4FF"/>
          </a:solidFill>
        </p:spPr>
        <p:txBody>
          <a:bodyPr/>
          <a:lstStyle>
            <a:lvl1pPr marL="447675" indent="-447675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Clr>
                <a:schemeClr val="tx1"/>
              </a:buClr>
              <a:buFont typeface="Montserrat Medium" panose="00000600000000000000" pitchFamily="2" charset="-18"/>
              <a:buChar char="—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Font typeface="Montserrat Medium" panose="00000600000000000000" pitchFamily="2" charset="-18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Font typeface="Montserrat Medium" panose="00000600000000000000" pitchFamily="2" charset="-18"/>
              <a:buChar char="‐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Font typeface="Montserrat Medium" panose="00000600000000000000" pitchFamily="2" charset="-18"/>
              <a:buChar char="‐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Font typeface="Montserrat Medium" panose="00000600000000000000" pitchFamily="2" charset="-18"/>
              <a:buChar char="‐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Montserrat Medium" panose="00000600000000000000" pitchFamily="2" charset="-18"/>
              <a:buNone/>
            </a:pPr>
            <a:endParaRPr lang="cs-CZ" sz="2200" i="1" dirty="0"/>
          </a:p>
          <a:p>
            <a:pPr marL="1438275" indent="-1438275">
              <a:buFont typeface="Montserrat Medium" panose="00000600000000000000" pitchFamily="2" charset="-18"/>
              <a:buNone/>
              <a:tabLst>
                <a:tab pos="1079500" algn="l"/>
                <a:tab pos="1439863" algn="l"/>
              </a:tabLst>
            </a:pPr>
            <a:endParaRPr lang="cs-CZ" sz="1800" dirty="0">
              <a:solidFill>
                <a:srgbClr val="000000"/>
              </a:solidFill>
              <a:latin typeface="Montserrat ExtraBold" panose="00000900000000000000" pitchFamily="2" charset="-18"/>
            </a:endParaRPr>
          </a:p>
          <a:p>
            <a:pPr marL="0" indent="0">
              <a:buFont typeface="Montserrat Medium" panose="00000600000000000000" pitchFamily="2" charset="-18"/>
              <a:buNone/>
              <a:tabLst>
                <a:tab pos="0" algn="l"/>
              </a:tabLst>
            </a:pPr>
            <a:endParaRPr lang="cs-CZ" sz="1800" dirty="0">
              <a:solidFill>
                <a:srgbClr val="000000"/>
              </a:solidFill>
            </a:endParaRPr>
          </a:p>
          <a:p>
            <a:pPr marL="0" indent="0" algn="just">
              <a:buNone/>
            </a:pPr>
            <a:r>
              <a:rPr lang="cs-CZ" sz="1800" dirty="0">
                <a:solidFill>
                  <a:srgbClr val="000000"/>
                </a:solidFill>
              </a:rPr>
              <a:t>	</a:t>
            </a:r>
            <a:r>
              <a:rPr lang="cs-CZ" sz="1800" b="1" dirty="0">
                <a:solidFill>
                  <a:srgbClr val="000000"/>
                </a:solidFill>
                <a:latin typeface="Montserrat ExtraBold" panose="00000900000000000000" pitchFamily="2" charset="-18"/>
              </a:rPr>
              <a:t>Radek </a:t>
            </a:r>
            <a:r>
              <a:rPr lang="cs-CZ" sz="1800" b="1" dirty="0" err="1">
                <a:solidFill>
                  <a:srgbClr val="000000"/>
                </a:solidFill>
                <a:latin typeface="Montserrat ExtraBold" panose="00000900000000000000" pitchFamily="2" charset="-18"/>
              </a:rPr>
              <a:t>Nešleha</a:t>
            </a:r>
            <a:r>
              <a:rPr lang="cs-CZ" sz="1800" b="1" dirty="0">
                <a:solidFill>
                  <a:srgbClr val="000000"/>
                </a:solidFill>
                <a:latin typeface="Montserrat ExtraBold" panose="00000900000000000000" pitchFamily="2" charset="-18"/>
              </a:rPr>
              <a:t> </a:t>
            </a:r>
            <a:r>
              <a:rPr lang="cs-CZ" sz="1800" dirty="0">
                <a:solidFill>
                  <a:srgbClr val="000000"/>
                </a:solidFill>
              </a:rPr>
              <a:t>– Jednatel, Atlas </a:t>
            </a:r>
            <a:r>
              <a:rPr lang="cs-CZ" sz="1800" dirty="0" err="1">
                <a:solidFill>
                  <a:srgbClr val="000000"/>
                </a:solidFill>
              </a:rPr>
              <a:t>Copco</a:t>
            </a:r>
            <a:r>
              <a:rPr lang="cs-CZ" sz="1800" dirty="0">
                <a:solidFill>
                  <a:srgbClr val="000000"/>
                </a:solidFill>
              </a:rPr>
              <a:t> </a:t>
            </a:r>
            <a:r>
              <a:rPr lang="cs-CZ" sz="1800" dirty="0" err="1">
                <a:solidFill>
                  <a:srgbClr val="000000"/>
                </a:solidFill>
              </a:rPr>
              <a:t>Services</a:t>
            </a:r>
            <a:r>
              <a:rPr lang="cs-CZ" sz="1800" dirty="0">
                <a:solidFill>
                  <a:srgbClr val="000000"/>
                </a:solidFill>
              </a:rPr>
              <a:t> &amp; Edwards</a:t>
            </a:r>
          </a:p>
          <a:p>
            <a:pPr marL="0" indent="0" algn="just">
              <a:buNone/>
            </a:pPr>
            <a:r>
              <a:rPr lang="cs-CZ" sz="1800" dirty="0">
                <a:solidFill>
                  <a:srgbClr val="000000"/>
                </a:solidFill>
              </a:rPr>
              <a:t>	</a:t>
            </a:r>
            <a:r>
              <a:rPr lang="cs-CZ" sz="1800" b="1" dirty="0">
                <a:solidFill>
                  <a:srgbClr val="000000"/>
                </a:solidFill>
                <a:latin typeface="Montserrat ExtraBold" panose="00000900000000000000" pitchFamily="2" charset="-18"/>
              </a:rPr>
              <a:t>Pavel Štern </a:t>
            </a:r>
            <a:r>
              <a:rPr lang="cs-CZ" sz="1800" dirty="0">
                <a:solidFill>
                  <a:srgbClr val="000000"/>
                </a:solidFill>
              </a:rPr>
              <a:t>– Ředitel, Byznys pro společnost</a:t>
            </a:r>
          </a:p>
          <a:p>
            <a:pPr marL="0" indent="0">
              <a:buFont typeface="Montserrat Medium" panose="00000600000000000000" pitchFamily="2" charset="-18"/>
              <a:buNone/>
              <a:tabLst>
                <a:tab pos="0" algn="l"/>
              </a:tabLst>
            </a:pPr>
            <a:endParaRPr lang="cs-CZ" sz="500" dirty="0">
              <a:solidFill>
                <a:srgbClr val="000000"/>
              </a:solidFill>
            </a:endParaRPr>
          </a:p>
          <a:p>
            <a:pPr marL="0" indent="0">
              <a:buFont typeface="Montserrat Medium" panose="00000600000000000000" pitchFamily="2" charset="-18"/>
              <a:buNone/>
              <a:tabLst>
                <a:tab pos="0" algn="l"/>
              </a:tabLst>
            </a:pPr>
            <a:endParaRPr lang="cs-CZ" sz="500" dirty="0">
              <a:solidFill>
                <a:srgbClr val="000000"/>
              </a:solidFill>
            </a:endParaRPr>
          </a:p>
          <a:p>
            <a:pPr marL="0" indent="0">
              <a:buFont typeface="Montserrat Medium" panose="00000600000000000000" pitchFamily="2" charset="-18"/>
              <a:buNone/>
              <a:tabLst>
                <a:tab pos="0" algn="l"/>
              </a:tabLst>
            </a:pPr>
            <a:endParaRPr lang="cs-CZ" sz="500" dirty="0">
              <a:solidFill>
                <a:srgbClr val="000000"/>
              </a:solidFill>
            </a:endParaRPr>
          </a:p>
          <a:p>
            <a:pPr marL="0" indent="0">
              <a:buFont typeface="Montserrat Medium" panose="00000600000000000000" pitchFamily="2" charset="-18"/>
              <a:buNone/>
              <a:tabLst>
                <a:tab pos="895350" algn="l"/>
                <a:tab pos="1439863" algn="l"/>
              </a:tabLst>
            </a:pPr>
            <a:r>
              <a:rPr lang="cs-CZ" sz="1800" dirty="0">
                <a:solidFill>
                  <a:srgbClr val="000000"/>
                </a:solidFill>
              </a:rPr>
              <a:t>	</a:t>
            </a:r>
            <a:r>
              <a:rPr lang="cs-CZ" sz="1800" i="1" dirty="0">
                <a:solidFill>
                  <a:srgbClr val="000000"/>
                </a:solidFill>
              </a:rPr>
              <a:t>Konferenci moderuje </a:t>
            </a:r>
            <a:r>
              <a:rPr lang="cs-CZ" sz="1800" b="1" i="1" dirty="0">
                <a:solidFill>
                  <a:srgbClr val="000000"/>
                </a:solidFill>
                <a:latin typeface="Montserrat ExtraBold" panose="00000900000000000000" pitchFamily="2" charset="-18"/>
              </a:rPr>
              <a:t>Petr Bittner</a:t>
            </a:r>
            <a:r>
              <a:rPr lang="cs-CZ" sz="1800" i="1" dirty="0">
                <a:solidFill>
                  <a:srgbClr val="000000"/>
                </a:solidFill>
              </a:rPr>
              <a:t>, novinář a redaktor deníku Referendum</a:t>
            </a:r>
          </a:p>
          <a:p>
            <a:pPr marL="0" indent="0">
              <a:buFont typeface="Montserrat Medium" panose="00000600000000000000" pitchFamily="2" charset="-18"/>
              <a:buNone/>
              <a:tabLst>
                <a:tab pos="1439863" algn="l"/>
              </a:tabLst>
            </a:pPr>
            <a:r>
              <a:rPr lang="cs-CZ" sz="1800" dirty="0">
                <a:solidFill>
                  <a:srgbClr val="000000"/>
                </a:solidFill>
              </a:rPr>
              <a:t>	</a:t>
            </a:r>
            <a:endParaRPr lang="cs-CZ" sz="2200" dirty="0">
              <a:solidFill>
                <a:srgbClr val="000000"/>
              </a:solidFill>
              <a:latin typeface="MyriadPro-It"/>
            </a:endParaRPr>
          </a:p>
        </p:txBody>
      </p:sp>
      <p:grpSp>
        <p:nvGrpSpPr>
          <p:cNvPr id="10" name="Skupina 9">
            <a:extLst>
              <a:ext uri="{FF2B5EF4-FFF2-40B4-BE49-F238E27FC236}">
                <a16:creationId xmlns:a16="http://schemas.microsoft.com/office/drawing/2014/main" id="{AD542271-2988-68E6-3007-E8D0F4875488}"/>
              </a:ext>
            </a:extLst>
          </p:cNvPr>
          <p:cNvGrpSpPr/>
          <p:nvPr/>
        </p:nvGrpSpPr>
        <p:grpSpPr>
          <a:xfrm>
            <a:off x="778576" y="1521689"/>
            <a:ext cx="3156816" cy="548793"/>
            <a:chOff x="4419242" y="171845"/>
            <a:chExt cx="3090664" cy="548793"/>
          </a:xfrm>
        </p:grpSpPr>
        <p:sp>
          <p:nvSpPr>
            <p:cNvPr id="14" name="Rovnoramenný trojúhelník 13">
              <a:extLst>
                <a:ext uri="{FF2B5EF4-FFF2-40B4-BE49-F238E27FC236}">
                  <a16:creationId xmlns:a16="http://schemas.microsoft.com/office/drawing/2014/main" id="{730B8C3B-5900-2AD9-4BAF-065B64FEFDB4}"/>
                </a:ext>
              </a:extLst>
            </p:cNvPr>
            <p:cNvSpPr>
              <a:spLocks noChangeAspect="1"/>
            </p:cNvSpPr>
            <p:nvPr/>
          </p:nvSpPr>
          <p:spPr>
            <a:xfrm rot="2700000">
              <a:off x="4424702" y="585638"/>
              <a:ext cx="180000" cy="90000"/>
            </a:xfrm>
            <a:prstGeom prst="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Medium"/>
                <a:ea typeface="+mn-ea"/>
                <a:cs typeface="+mn-cs"/>
              </a:endParaRPr>
            </a:p>
          </p:txBody>
        </p:sp>
        <p:sp>
          <p:nvSpPr>
            <p:cNvPr id="15" name="TextovéPole 14">
              <a:extLst>
                <a:ext uri="{FF2B5EF4-FFF2-40B4-BE49-F238E27FC236}">
                  <a16:creationId xmlns:a16="http://schemas.microsoft.com/office/drawing/2014/main" id="{400D7745-CC5F-8BA9-054F-CF5F75E669A2}"/>
                </a:ext>
              </a:extLst>
            </p:cNvPr>
            <p:cNvSpPr txBox="1"/>
            <p:nvPr/>
          </p:nvSpPr>
          <p:spPr>
            <a:xfrm>
              <a:off x="4419242" y="171845"/>
              <a:ext cx="3090664" cy="42672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54000" rtlCol="0" anchor="ctr">
              <a:noAutofit/>
            </a:bodyPr>
            <a:lstStyle/>
            <a:p>
              <a:pPr marL="13335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 ExtraBold" panose="00000900000000000000" pitchFamily="2" charset="-18"/>
                  <a:ea typeface="+mn-ea"/>
                  <a:cs typeface="+mn-cs"/>
                </a:rPr>
                <a:t>Zahájení</a:t>
              </a:r>
            </a:p>
          </p:txBody>
        </p:sp>
      </p:grpSp>
      <p:pic>
        <p:nvPicPr>
          <p:cNvPr id="5" name="Grafický objekt 4">
            <a:extLst>
              <a:ext uri="{FF2B5EF4-FFF2-40B4-BE49-F238E27FC236}">
                <a16:creationId xmlns:a16="http://schemas.microsoft.com/office/drawing/2014/main" id="{F41ECCBC-CF6A-EE85-CAED-6CBAFC77769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189514" y="5639889"/>
            <a:ext cx="1667601" cy="795743"/>
          </a:xfrm>
          <a:prstGeom prst="rect">
            <a:avLst/>
          </a:prstGeom>
        </p:spPr>
      </p:pic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55D7B56B-1830-A155-D20E-CD2E0E70467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72220" y="5617227"/>
            <a:ext cx="1765906" cy="816731"/>
          </a:xfrm>
          <a:prstGeom prst="rect">
            <a:avLst/>
          </a:prstGeom>
        </p:spPr>
      </p:pic>
      <p:pic>
        <p:nvPicPr>
          <p:cNvPr id="13" name="Obrázek 12">
            <a:extLst>
              <a:ext uri="{FF2B5EF4-FFF2-40B4-BE49-F238E27FC236}">
                <a16:creationId xmlns:a16="http://schemas.microsoft.com/office/drawing/2014/main" id="{57CFCD78-B5DE-A6EB-6817-1D36CE3DC371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26888" t="35257" r="9123" b="24549"/>
          <a:stretch/>
        </p:blipFill>
        <p:spPr>
          <a:xfrm>
            <a:off x="8473825" y="5491466"/>
            <a:ext cx="2797692" cy="9558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692444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obsah 1">
            <a:extLst>
              <a:ext uri="{FF2B5EF4-FFF2-40B4-BE49-F238E27FC236}">
                <a16:creationId xmlns:a16="http://schemas.microsoft.com/office/drawing/2014/main" id="{23EAE5E0-D169-5944-E477-FF7F23B5D87B}"/>
              </a:ext>
            </a:extLst>
          </p:cNvPr>
          <p:cNvSpPr txBox="1">
            <a:spLocks/>
          </p:cNvSpPr>
          <p:nvPr/>
        </p:nvSpPr>
        <p:spPr>
          <a:xfrm>
            <a:off x="876079" y="984234"/>
            <a:ext cx="10482565" cy="4075132"/>
          </a:xfrm>
          <a:prstGeom prst="rect">
            <a:avLst/>
          </a:prstGeom>
          <a:solidFill>
            <a:srgbClr val="43E4FF"/>
          </a:solidFill>
        </p:spPr>
        <p:txBody>
          <a:bodyPr/>
          <a:lstStyle>
            <a:lvl1pPr marL="447675" indent="-447675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Clr>
                <a:schemeClr val="tx1"/>
              </a:buClr>
              <a:buFont typeface="Montserrat Medium" panose="00000600000000000000" pitchFamily="2" charset="-18"/>
              <a:buChar char="—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Font typeface="Montserrat Medium" panose="00000600000000000000" pitchFamily="2" charset="-18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Font typeface="Montserrat Medium" panose="00000600000000000000" pitchFamily="2" charset="-18"/>
              <a:buChar char="‐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Font typeface="Montserrat Medium" panose="00000600000000000000" pitchFamily="2" charset="-18"/>
              <a:buChar char="‐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Font typeface="Montserrat Medium" panose="00000600000000000000" pitchFamily="2" charset="-18"/>
              <a:buChar char="‐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Montserrat Medium" panose="00000600000000000000" pitchFamily="2" charset="-18"/>
              <a:buNone/>
            </a:pPr>
            <a:endParaRPr lang="cs-CZ" sz="2200" i="1" dirty="0"/>
          </a:p>
          <a:p>
            <a:pPr marL="1438275" indent="-1438275">
              <a:buFont typeface="Montserrat Medium" panose="00000600000000000000" pitchFamily="2" charset="-18"/>
              <a:buNone/>
              <a:tabLst>
                <a:tab pos="1079500" algn="l"/>
                <a:tab pos="1439863" algn="l"/>
              </a:tabLst>
            </a:pPr>
            <a:endParaRPr lang="cs-CZ" sz="1800" dirty="0">
              <a:solidFill>
                <a:srgbClr val="000000"/>
              </a:solidFill>
              <a:latin typeface="Montserrat ExtraBold" panose="00000900000000000000" pitchFamily="2" charset="-18"/>
            </a:endParaRPr>
          </a:p>
          <a:p>
            <a:pPr marL="0" indent="0">
              <a:buFont typeface="Montserrat Medium" panose="00000600000000000000" pitchFamily="2" charset="-18"/>
              <a:buNone/>
              <a:tabLst>
                <a:tab pos="0" algn="l"/>
              </a:tabLst>
            </a:pPr>
            <a:endParaRPr lang="cs-CZ" sz="1800" dirty="0">
              <a:solidFill>
                <a:srgbClr val="000000"/>
              </a:solidFill>
            </a:endParaRPr>
          </a:p>
          <a:p>
            <a:pPr marL="625475" indent="184150" algn="just">
              <a:buClr>
                <a:srgbClr val="FF9900"/>
              </a:buClr>
              <a:buSzPct val="109000"/>
              <a:buFont typeface="Montserrat" panose="00000500000000000000" pitchFamily="2" charset="-18"/>
              <a:buChar char="−"/>
            </a:pPr>
            <a:r>
              <a:rPr lang="cs-CZ" sz="1800" dirty="0">
                <a:solidFill>
                  <a:srgbClr val="000000"/>
                </a:solidFill>
              </a:rPr>
              <a:t>	</a:t>
            </a:r>
            <a:r>
              <a:rPr lang="cs-CZ" sz="2000" b="1" dirty="0">
                <a:solidFill>
                  <a:srgbClr val="000000"/>
                </a:solidFill>
                <a:latin typeface="Montserrat ExtraBold" panose="00000900000000000000" pitchFamily="2" charset="-18"/>
              </a:rPr>
              <a:t>Leona Buchtová </a:t>
            </a:r>
            <a:r>
              <a:rPr lang="cs-CZ" sz="2000" dirty="0">
                <a:solidFill>
                  <a:srgbClr val="000000"/>
                </a:solidFill>
              </a:rPr>
              <a:t>– HR Manager</a:t>
            </a:r>
          </a:p>
          <a:p>
            <a:pPr marL="625475" indent="184150" algn="just">
              <a:buClr>
                <a:srgbClr val="FF9900"/>
              </a:buClr>
              <a:buSzPct val="109000"/>
              <a:buFont typeface="Montserrat" panose="00000500000000000000" pitchFamily="2" charset="-18"/>
              <a:buChar char="−"/>
            </a:pPr>
            <a:r>
              <a:rPr lang="cs-CZ" sz="2000" dirty="0">
                <a:solidFill>
                  <a:srgbClr val="000000"/>
                </a:solidFill>
              </a:rPr>
              <a:t>	</a:t>
            </a:r>
            <a:r>
              <a:rPr lang="cs-CZ" sz="2000" b="1" dirty="0">
                <a:solidFill>
                  <a:srgbClr val="000000"/>
                </a:solidFill>
                <a:latin typeface="Montserrat ExtraBold" panose="00000900000000000000" pitchFamily="2" charset="-18"/>
              </a:rPr>
              <a:t>Marie Schröderová </a:t>
            </a:r>
            <a:r>
              <a:rPr lang="cs-CZ" sz="2000" dirty="0">
                <a:solidFill>
                  <a:srgbClr val="000000"/>
                </a:solidFill>
              </a:rPr>
              <a:t>– Talent &amp; Development </a:t>
            </a:r>
            <a:r>
              <a:rPr lang="cs-CZ" sz="2000" dirty="0" err="1">
                <a:solidFill>
                  <a:srgbClr val="000000"/>
                </a:solidFill>
              </a:rPr>
              <a:t>Specialist</a:t>
            </a:r>
            <a:endParaRPr lang="cs-CZ" sz="2000" dirty="0">
              <a:solidFill>
                <a:srgbClr val="000000"/>
              </a:solidFill>
            </a:endParaRPr>
          </a:p>
          <a:p>
            <a:pPr marL="625475" indent="184150" algn="just">
              <a:buClr>
                <a:srgbClr val="FF9900"/>
              </a:buClr>
              <a:buSzPct val="109000"/>
              <a:buFont typeface="Montserrat" panose="00000500000000000000" pitchFamily="2" charset="-18"/>
              <a:buChar char="−"/>
            </a:pPr>
            <a:r>
              <a:rPr lang="cs-CZ" sz="2000" dirty="0">
                <a:solidFill>
                  <a:srgbClr val="000000"/>
                </a:solidFill>
              </a:rPr>
              <a:t>	</a:t>
            </a:r>
            <a:r>
              <a:rPr lang="cs-CZ" sz="2000" b="1" dirty="0">
                <a:solidFill>
                  <a:srgbClr val="000000"/>
                </a:solidFill>
                <a:latin typeface="Montserrat ExtraBold" panose="00000900000000000000" pitchFamily="2" charset="-18"/>
              </a:rPr>
              <a:t>Veronika Ševčíková </a:t>
            </a:r>
            <a:r>
              <a:rPr lang="cs-CZ" sz="2000" dirty="0">
                <a:solidFill>
                  <a:srgbClr val="000000"/>
                </a:solidFill>
              </a:rPr>
              <a:t>– </a:t>
            </a:r>
            <a:r>
              <a:rPr lang="cs-CZ" sz="2000" dirty="0" err="1">
                <a:solidFill>
                  <a:srgbClr val="000000"/>
                </a:solidFill>
              </a:rPr>
              <a:t>PtP</a:t>
            </a:r>
            <a:r>
              <a:rPr lang="cs-CZ" sz="2000" dirty="0">
                <a:solidFill>
                  <a:srgbClr val="000000"/>
                </a:solidFill>
              </a:rPr>
              <a:t> </a:t>
            </a:r>
            <a:r>
              <a:rPr lang="cs-CZ" sz="2000" dirty="0" err="1">
                <a:solidFill>
                  <a:srgbClr val="000000"/>
                </a:solidFill>
              </a:rPr>
              <a:t>Administrators</a:t>
            </a:r>
            <a:r>
              <a:rPr lang="cs-CZ" sz="2000" dirty="0">
                <a:solidFill>
                  <a:srgbClr val="000000"/>
                </a:solidFill>
              </a:rPr>
              <a:t> Team Leader</a:t>
            </a:r>
          </a:p>
          <a:p>
            <a:pPr marL="625475" indent="184150" algn="just">
              <a:buClr>
                <a:srgbClr val="FF9900"/>
              </a:buClr>
              <a:buSzPct val="109000"/>
              <a:buFont typeface="Montserrat" panose="00000500000000000000" pitchFamily="2" charset="-18"/>
              <a:buChar char="−"/>
            </a:pPr>
            <a:endParaRPr lang="cs-CZ" sz="2000" dirty="0">
              <a:solidFill>
                <a:srgbClr val="000000"/>
              </a:solidFill>
            </a:endParaRPr>
          </a:p>
          <a:p>
            <a:pPr marL="0" indent="0">
              <a:buFont typeface="Montserrat Medium" panose="00000600000000000000" pitchFamily="2" charset="-18"/>
              <a:buNone/>
              <a:tabLst>
                <a:tab pos="0" algn="l"/>
              </a:tabLst>
            </a:pPr>
            <a:endParaRPr lang="cs-CZ" sz="500" dirty="0">
              <a:solidFill>
                <a:srgbClr val="000000"/>
              </a:solidFill>
            </a:endParaRPr>
          </a:p>
          <a:p>
            <a:pPr marL="0" indent="0">
              <a:buFont typeface="Montserrat Medium" panose="00000600000000000000" pitchFamily="2" charset="-18"/>
              <a:buNone/>
              <a:tabLst>
                <a:tab pos="0" algn="l"/>
              </a:tabLst>
            </a:pPr>
            <a:endParaRPr lang="cs-CZ" sz="500" dirty="0">
              <a:solidFill>
                <a:srgbClr val="000000"/>
              </a:solidFill>
            </a:endParaRPr>
          </a:p>
          <a:p>
            <a:pPr marL="0" indent="0">
              <a:buFont typeface="Montserrat Medium" panose="00000600000000000000" pitchFamily="2" charset="-18"/>
              <a:buNone/>
              <a:tabLst>
                <a:tab pos="0" algn="l"/>
              </a:tabLst>
            </a:pPr>
            <a:endParaRPr lang="cs-CZ" sz="500" dirty="0">
              <a:solidFill>
                <a:srgbClr val="000000"/>
              </a:solidFill>
            </a:endParaRPr>
          </a:p>
          <a:p>
            <a:pPr marL="0" indent="0">
              <a:buFont typeface="Montserrat Medium" panose="00000600000000000000" pitchFamily="2" charset="-18"/>
              <a:buNone/>
              <a:tabLst>
                <a:tab pos="895350" algn="l"/>
                <a:tab pos="1439863" algn="l"/>
              </a:tabLst>
            </a:pPr>
            <a:r>
              <a:rPr lang="cs-CZ" sz="1800" dirty="0">
                <a:solidFill>
                  <a:srgbClr val="000000"/>
                </a:solidFill>
              </a:rPr>
              <a:t>	</a:t>
            </a:r>
            <a:endParaRPr lang="cs-CZ" sz="1800" i="1" dirty="0">
              <a:solidFill>
                <a:srgbClr val="000000"/>
              </a:solidFill>
            </a:endParaRPr>
          </a:p>
          <a:p>
            <a:pPr marL="0" indent="0">
              <a:buFont typeface="Montserrat Medium" panose="00000600000000000000" pitchFamily="2" charset="-18"/>
              <a:buNone/>
              <a:tabLst>
                <a:tab pos="1439863" algn="l"/>
              </a:tabLst>
            </a:pPr>
            <a:r>
              <a:rPr lang="cs-CZ" sz="1800" dirty="0">
                <a:solidFill>
                  <a:srgbClr val="000000"/>
                </a:solidFill>
              </a:rPr>
              <a:t>	</a:t>
            </a:r>
            <a:endParaRPr lang="cs-CZ" sz="2200" dirty="0">
              <a:solidFill>
                <a:srgbClr val="000000"/>
              </a:solidFill>
              <a:latin typeface="MyriadPro-It"/>
            </a:endParaRPr>
          </a:p>
        </p:txBody>
      </p:sp>
      <p:grpSp>
        <p:nvGrpSpPr>
          <p:cNvPr id="10" name="Skupina 9">
            <a:extLst>
              <a:ext uri="{FF2B5EF4-FFF2-40B4-BE49-F238E27FC236}">
                <a16:creationId xmlns:a16="http://schemas.microsoft.com/office/drawing/2014/main" id="{AD542271-2988-68E6-3007-E8D0F4875488}"/>
              </a:ext>
            </a:extLst>
          </p:cNvPr>
          <p:cNvGrpSpPr/>
          <p:nvPr/>
        </p:nvGrpSpPr>
        <p:grpSpPr>
          <a:xfrm>
            <a:off x="778575" y="1521689"/>
            <a:ext cx="4291135" cy="548793"/>
            <a:chOff x="4419241" y="171845"/>
            <a:chExt cx="4201213" cy="548793"/>
          </a:xfrm>
        </p:grpSpPr>
        <p:sp>
          <p:nvSpPr>
            <p:cNvPr id="14" name="Rovnoramenný trojúhelník 13">
              <a:extLst>
                <a:ext uri="{FF2B5EF4-FFF2-40B4-BE49-F238E27FC236}">
                  <a16:creationId xmlns:a16="http://schemas.microsoft.com/office/drawing/2014/main" id="{730B8C3B-5900-2AD9-4BAF-065B64FEFDB4}"/>
                </a:ext>
              </a:extLst>
            </p:cNvPr>
            <p:cNvSpPr>
              <a:spLocks noChangeAspect="1"/>
            </p:cNvSpPr>
            <p:nvPr/>
          </p:nvSpPr>
          <p:spPr>
            <a:xfrm rot="2700000">
              <a:off x="4424702" y="585638"/>
              <a:ext cx="180000" cy="90000"/>
            </a:xfrm>
            <a:prstGeom prst="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Medium"/>
                <a:ea typeface="+mn-ea"/>
                <a:cs typeface="+mn-cs"/>
              </a:endParaRPr>
            </a:p>
          </p:txBody>
        </p:sp>
        <p:sp>
          <p:nvSpPr>
            <p:cNvPr id="15" name="TextovéPole 14">
              <a:extLst>
                <a:ext uri="{FF2B5EF4-FFF2-40B4-BE49-F238E27FC236}">
                  <a16:creationId xmlns:a16="http://schemas.microsoft.com/office/drawing/2014/main" id="{400D7745-CC5F-8BA9-054F-CF5F75E669A2}"/>
                </a:ext>
              </a:extLst>
            </p:cNvPr>
            <p:cNvSpPr txBox="1"/>
            <p:nvPr/>
          </p:nvSpPr>
          <p:spPr>
            <a:xfrm>
              <a:off x="4419241" y="171845"/>
              <a:ext cx="4201213" cy="42672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54000" rtlCol="0" anchor="ctr">
              <a:noAutofit/>
            </a:bodyPr>
            <a:lstStyle/>
            <a:p>
              <a:pPr marL="13335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 ExtraBold" panose="00000900000000000000" pitchFamily="2" charset="-18"/>
                  <a:ea typeface="+mn-ea"/>
                  <a:cs typeface="+mn-cs"/>
                </a:rPr>
                <a:t>Raná kariéra v Atlas </a:t>
              </a:r>
              <a:r>
                <a:rPr kumimoji="0" lang="cs-CZ" sz="20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 ExtraBold" panose="00000900000000000000" pitchFamily="2" charset="-18"/>
                  <a:ea typeface="+mn-ea"/>
                  <a:cs typeface="+mn-cs"/>
                </a:rPr>
                <a:t>Copco</a:t>
              </a:r>
              <a:endPara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 ExtraBold" panose="00000900000000000000" pitchFamily="2" charset="-18"/>
                <a:ea typeface="+mn-ea"/>
                <a:cs typeface="+mn-cs"/>
              </a:endParaRPr>
            </a:p>
          </p:txBody>
        </p:sp>
      </p:grpSp>
      <p:pic>
        <p:nvPicPr>
          <p:cNvPr id="5" name="Grafický objekt 4">
            <a:extLst>
              <a:ext uri="{FF2B5EF4-FFF2-40B4-BE49-F238E27FC236}">
                <a16:creationId xmlns:a16="http://schemas.microsoft.com/office/drawing/2014/main" id="{F41ECCBC-CF6A-EE85-CAED-6CBAFC77769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189514" y="5639889"/>
            <a:ext cx="1667601" cy="795743"/>
          </a:xfrm>
          <a:prstGeom prst="rect">
            <a:avLst/>
          </a:prstGeom>
        </p:spPr>
      </p:pic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55D7B56B-1830-A155-D20E-CD2E0E70467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72220" y="5617227"/>
            <a:ext cx="1765906" cy="816731"/>
          </a:xfrm>
          <a:prstGeom prst="rect">
            <a:avLst/>
          </a:prstGeom>
        </p:spPr>
      </p:pic>
      <p:pic>
        <p:nvPicPr>
          <p:cNvPr id="13" name="Obrázek 12">
            <a:extLst>
              <a:ext uri="{FF2B5EF4-FFF2-40B4-BE49-F238E27FC236}">
                <a16:creationId xmlns:a16="http://schemas.microsoft.com/office/drawing/2014/main" id="{57CFCD78-B5DE-A6EB-6817-1D36CE3DC371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26888" t="35257" r="9123" b="24549"/>
          <a:stretch/>
        </p:blipFill>
        <p:spPr>
          <a:xfrm>
            <a:off x="8473825" y="5491466"/>
            <a:ext cx="2797692" cy="9558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320400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obsah 1">
            <a:extLst>
              <a:ext uri="{FF2B5EF4-FFF2-40B4-BE49-F238E27FC236}">
                <a16:creationId xmlns:a16="http://schemas.microsoft.com/office/drawing/2014/main" id="{23EAE5E0-D169-5944-E477-FF7F23B5D87B}"/>
              </a:ext>
            </a:extLst>
          </p:cNvPr>
          <p:cNvSpPr txBox="1">
            <a:spLocks/>
          </p:cNvSpPr>
          <p:nvPr/>
        </p:nvSpPr>
        <p:spPr>
          <a:xfrm>
            <a:off x="876079" y="984234"/>
            <a:ext cx="10482565" cy="2580769"/>
          </a:xfrm>
          <a:prstGeom prst="rect">
            <a:avLst/>
          </a:prstGeom>
          <a:solidFill>
            <a:srgbClr val="43E4FF"/>
          </a:solidFill>
        </p:spPr>
        <p:txBody>
          <a:bodyPr/>
          <a:lstStyle>
            <a:lvl1pPr marL="447675" indent="-447675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Clr>
                <a:schemeClr val="tx1"/>
              </a:buClr>
              <a:buFont typeface="Montserrat Medium" panose="00000600000000000000" pitchFamily="2" charset="-18"/>
              <a:buChar char="—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Font typeface="Montserrat Medium" panose="00000600000000000000" pitchFamily="2" charset="-18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Font typeface="Montserrat Medium" panose="00000600000000000000" pitchFamily="2" charset="-18"/>
              <a:buChar char="‐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Font typeface="Montserrat Medium" panose="00000600000000000000" pitchFamily="2" charset="-18"/>
              <a:buChar char="‐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Font typeface="Montserrat Medium" panose="00000600000000000000" pitchFamily="2" charset="-18"/>
              <a:buChar char="‐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Montserrat Medium" panose="00000600000000000000" pitchFamily="2" charset="-18"/>
              <a:buNone/>
            </a:pPr>
            <a:endParaRPr lang="cs-CZ" sz="2200" i="1" dirty="0"/>
          </a:p>
          <a:p>
            <a:pPr marL="1438275" indent="-1438275">
              <a:buFont typeface="Montserrat Medium" panose="00000600000000000000" pitchFamily="2" charset="-18"/>
              <a:buNone/>
              <a:tabLst>
                <a:tab pos="1079500" algn="l"/>
                <a:tab pos="1439863" algn="l"/>
              </a:tabLst>
            </a:pPr>
            <a:endParaRPr lang="cs-CZ" sz="1800" dirty="0">
              <a:solidFill>
                <a:srgbClr val="000000"/>
              </a:solidFill>
              <a:latin typeface="Montserrat ExtraBold" panose="00000900000000000000" pitchFamily="2" charset="-18"/>
            </a:endParaRPr>
          </a:p>
          <a:p>
            <a:pPr marL="0" indent="0">
              <a:buFont typeface="Montserrat Medium" panose="00000600000000000000" pitchFamily="2" charset="-18"/>
              <a:buNone/>
              <a:tabLst>
                <a:tab pos="0" algn="l"/>
              </a:tabLst>
            </a:pPr>
            <a:endParaRPr lang="cs-CZ" sz="1800" dirty="0">
              <a:solidFill>
                <a:srgbClr val="000000"/>
              </a:solidFill>
            </a:endParaRPr>
          </a:p>
          <a:p>
            <a:pPr marL="0" indent="0">
              <a:buFont typeface="Montserrat Medium" panose="00000600000000000000" pitchFamily="2" charset="-18"/>
              <a:buNone/>
              <a:tabLst>
                <a:tab pos="0" algn="l"/>
              </a:tabLst>
            </a:pPr>
            <a:r>
              <a:rPr lang="cs-CZ" sz="500" dirty="0">
                <a:solidFill>
                  <a:srgbClr val="000000"/>
                </a:solidFill>
              </a:rPr>
              <a:t> </a:t>
            </a:r>
          </a:p>
          <a:p>
            <a:pPr marL="0" indent="0">
              <a:buFont typeface="Montserrat Medium" panose="00000600000000000000" pitchFamily="2" charset="-18"/>
              <a:buNone/>
              <a:tabLst>
                <a:tab pos="0" algn="l"/>
              </a:tabLst>
            </a:pPr>
            <a:endParaRPr lang="cs-CZ" sz="500" dirty="0">
              <a:solidFill>
                <a:srgbClr val="000000"/>
              </a:solidFill>
            </a:endParaRPr>
          </a:p>
          <a:p>
            <a:pPr marL="0" indent="0">
              <a:buFont typeface="Montserrat Medium" panose="00000600000000000000" pitchFamily="2" charset="-18"/>
              <a:buNone/>
              <a:tabLst>
                <a:tab pos="895350" algn="l"/>
                <a:tab pos="1439863" algn="l"/>
              </a:tabLst>
            </a:pPr>
            <a:r>
              <a:rPr lang="cs-CZ" sz="1800" dirty="0">
                <a:solidFill>
                  <a:srgbClr val="000000"/>
                </a:solidFill>
              </a:rPr>
              <a:t>	</a:t>
            </a:r>
            <a:endParaRPr lang="cs-CZ" sz="1800" i="1" dirty="0">
              <a:solidFill>
                <a:srgbClr val="000000"/>
              </a:solidFill>
            </a:endParaRPr>
          </a:p>
          <a:p>
            <a:pPr marL="0" indent="0">
              <a:buFont typeface="Montserrat Medium" panose="00000600000000000000" pitchFamily="2" charset="-18"/>
              <a:buNone/>
              <a:tabLst>
                <a:tab pos="1439863" algn="l"/>
              </a:tabLst>
            </a:pPr>
            <a:r>
              <a:rPr lang="cs-CZ" sz="1800" dirty="0">
                <a:solidFill>
                  <a:srgbClr val="000000"/>
                </a:solidFill>
              </a:rPr>
              <a:t>	 </a:t>
            </a:r>
            <a:endParaRPr lang="cs-CZ" sz="2200" dirty="0">
              <a:solidFill>
                <a:srgbClr val="000000"/>
              </a:solidFill>
              <a:latin typeface="MyriadPro-It"/>
            </a:endParaRPr>
          </a:p>
        </p:txBody>
      </p:sp>
      <p:grpSp>
        <p:nvGrpSpPr>
          <p:cNvPr id="10" name="Skupina 9">
            <a:extLst>
              <a:ext uri="{FF2B5EF4-FFF2-40B4-BE49-F238E27FC236}">
                <a16:creationId xmlns:a16="http://schemas.microsoft.com/office/drawing/2014/main" id="{AD542271-2988-68E6-3007-E8D0F4875488}"/>
              </a:ext>
            </a:extLst>
          </p:cNvPr>
          <p:cNvGrpSpPr/>
          <p:nvPr/>
        </p:nvGrpSpPr>
        <p:grpSpPr>
          <a:xfrm>
            <a:off x="778575" y="1521689"/>
            <a:ext cx="4487906" cy="642777"/>
            <a:chOff x="4419241" y="171845"/>
            <a:chExt cx="4201213" cy="548793"/>
          </a:xfrm>
        </p:grpSpPr>
        <p:sp>
          <p:nvSpPr>
            <p:cNvPr id="14" name="Rovnoramenný trojúhelník 13">
              <a:extLst>
                <a:ext uri="{FF2B5EF4-FFF2-40B4-BE49-F238E27FC236}">
                  <a16:creationId xmlns:a16="http://schemas.microsoft.com/office/drawing/2014/main" id="{730B8C3B-5900-2AD9-4BAF-065B64FEFDB4}"/>
                </a:ext>
              </a:extLst>
            </p:cNvPr>
            <p:cNvSpPr>
              <a:spLocks noChangeAspect="1"/>
            </p:cNvSpPr>
            <p:nvPr/>
          </p:nvSpPr>
          <p:spPr>
            <a:xfrm rot="2700000">
              <a:off x="4424702" y="585638"/>
              <a:ext cx="180000" cy="90000"/>
            </a:xfrm>
            <a:prstGeom prst="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Medium"/>
                <a:ea typeface="+mn-ea"/>
                <a:cs typeface="+mn-cs"/>
              </a:endParaRPr>
            </a:p>
          </p:txBody>
        </p:sp>
        <p:sp>
          <p:nvSpPr>
            <p:cNvPr id="15" name="TextovéPole 14">
              <a:extLst>
                <a:ext uri="{FF2B5EF4-FFF2-40B4-BE49-F238E27FC236}">
                  <a16:creationId xmlns:a16="http://schemas.microsoft.com/office/drawing/2014/main" id="{400D7745-CC5F-8BA9-054F-CF5F75E669A2}"/>
                </a:ext>
              </a:extLst>
            </p:cNvPr>
            <p:cNvSpPr txBox="1"/>
            <p:nvPr/>
          </p:nvSpPr>
          <p:spPr>
            <a:xfrm>
              <a:off x="4419241" y="171845"/>
              <a:ext cx="4201213" cy="42672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54000" rtlCol="0" anchor="ctr">
              <a:noAutofit/>
            </a:bodyPr>
            <a:lstStyle/>
            <a:p>
              <a:pPr marL="13335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 ExtraBold" panose="00000900000000000000" pitchFamily="2" charset="-18"/>
                  <a:ea typeface="+mn-ea"/>
                  <a:cs typeface="+mn-cs"/>
                </a:rPr>
                <a:t>Přestávka </a:t>
              </a:r>
            </a:p>
          </p:txBody>
        </p:sp>
      </p:grpSp>
      <p:pic>
        <p:nvPicPr>
          <p:cNvPr id="5" name="Grafický objekt 4">
            <a:extLst>
              <a:ext uri="{FF2B5EF4-FFF2-40B4-BE49-F238E27FC236}">
                <a16:creationId xmlns:a16="http://schemas.microsoft.com/office/drawing/2014/main" id="{F41ECCBC-CF6A-EE85-CAED-6CBAFC77769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13061" y="5457788"/>
            <a:ext cx="2013518" cy="960807"/>
          </a:xfrm>
          <a:prstGeom prst="rect">
            <a:avLst/>
          </a:prstGeom>
        </p:spPr>
      </p:pic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55D7B56B-1830-A155-D20E-CD2E0E70467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394364" y="3986327"/>
            <a:ext cx="2132215" cy="986149"/>
          </a:xfrm>
          <a:prstGeom prst="rect">
            <a:avLst/>
          </a:prstGeom>
        </p:spPr>
      </p:pic>
      <p:pic>
        <p:nvPicPr>
          <p:cNvPr id="13" name="Obrázek 12">
            <a:extLst>
              <a:ext uri="{FF2B5EF4-FFF2-40B4-BE49-F238E27FC236}">
                <a16:creationId xmlns:a16="http://schemas.microsoft.com/office/drawing/2014/main" id="{57CFCD78-B5DE-A6EB-6817-1D36CE3DC371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26888" t="35257" r="9123" b="24549"/>
          <a:stretch/>
        </p:blipFill>
        <p:spPr>
          <a:xfrm>
            <a:off x="5436027" y="4134875"/>
            <a:ext cx="5242912" cy="17912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351372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obsah 1">
            <a:extLst>
              <a:ext uri="{FF2B5EF4-FFF2-40B4-BE49-F238E27FC236}">
                <a16:creationId xmlns:a16="http://schemas.microsoft.com/office/drawing/2014/main" id="{23EAE5E0-D169-5944-E477-FF7F23B5D87B}"/>
              </a:ext>
            </a:extLst>
          </p:cNvPr>
          <p:cNvSpPr txBox="1">
            <a:spLocks/>
          </p:cNvSpPr>
          <p:nvPr/>
        </p:nvSpPr>
        <p:spPr>
          <a:xfrm>
            <a:off x="876079" y="984234"/>
            <a:ext cx="10482565" cy="4075132"/>
          </a:xfrm>
          <a:prstGeom prst="rect">
            <a:avLst/>
          </a:prstGeom>
          <a:solidFill>
            <a:srgbClr val="43E4FF"/>
          </a:solidFill>
        </p:spPr>
        <p:txBody>
          <a:bodyPr/>
          <a:lstStyle>
            <a:lvl1pPr marL="447675" indent="-447675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Clr>
                <a:schemeClr val="tx1"/>
              </a:buClr>
              <a:buFont typeface="Montserrat Medium" panose="00000600000000000000" pitchFamily="2" charset="-18"/>
              <a:buChar char="—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Font typeface="Montserrat Medium" panose="00000600000000000000" pitchFamily="2" charset="-18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Font typeface="Montserrat Medium" panose="00000600000000000000" pitchFamily="2" charset="-18"/>
              <a:buChar char="‐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Font typeface="Montserrat Medium" panose="00000600000000000000" pitchFamily="2" charset="-18"/>
              <a:buChar char="‐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Font typeface="Montserrat Medium" panose="00000600000000000000" pitchFamily="2" charset="-18"/>
              <a:buChar char="‐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Montserrat Medium" panose="00000600000000000000" pitchFamily="2" charset="-18"/>
              <a:buNone/>
            </a:pPr>
            <a:endParaRPr lang="cs-CZ" sz="2200" i="1" dirty="0"/>
          </a:p>
          <a:p>
            <a:pPr marL="1438275" indent="-1438275">
              <a:buFont typeface="Montserrat Medium" panose="00000600000000000000" pitchFamily="2" charset="-18"/>
              <a:buNone/>
              <a:tabLst>
                <a:tab pos="1079500" algn="l"/>
                <a:tab pos="1439863" algn="l"/>
              </a:tabLst>
            </a:pPr>
            <a:endParaRPr lang="cs-CZ" sz="1800" dirty="0">
              <a:solidFill>
                <a:srgbClr val="000000"/>
              </a:solidFill>
              <a:latin typeface="Montserrat ExtraBold" panose="00000900000000000000" pitchFamily="2" charset="-18"/>
            </a:endParaRPr>
          </a:p>
          <a:p>
            <a:pPr marL="0" indent="0">
              <a:buFont typeface="Montserrat Medium" panose="00000600000000000000" pitchFamily="2" charset="-18"/>
              <a:buNone/>
              <a:tabLst>
                <a:tab pos="0" algn="l"/>
              </a:tabLst>
            </a:pPr>
            <a:endParaRPr lang="cs-CZ" sz="1800" dirty="0">
              <a:solidFill>
                <a:srgbClr val="000000"/>
              </a:solidFill>
            </a:endParaRPr>
          </a:p>
          <a:p>
            <a:pPr marL="450850" indent="266700" algn="just">
              <a:buClr>
                <a:srgbClr val="FF9900"/>
              </a:buClr>
              <a:buSzPct val="109000"/>
              <a:buFont typeface="Montserrat" panose="00000500000000000000" pitchFamily="2" charset="-18"/>
              <a:buChar char="−"/>
            </a:pPr>
            <a:r>
              <a:rPr lang="cs-CZ" sz="2000" b="1" dirty="0">
                <a:solidFill>
                  <a:srgbClr val="000000"/>
                </a:solidFill>
                <a:latin typeface="Montserrat ExtraBold" panose="00000900000000000000" pitchFamily="2" charset="-18"/>
              </a:rPr>
              <a:t>Petr Doležal </a:t>
            </a:r>
            <a:r>
              <a:rPr lang="cs-CZ" sz="2000" dirty="0">
                <a:solidFill>
                  <a:srgbClr val="000000"/>
                </a:solidFill>
              </a:rPr>
              <a:t>– Finance Manager, Atlas </a:t>
            </a:r>
            <a:r>
              <a:rPr lang="cs-CZ" sz="2000" dirty="0" err="1">
                <a:solidFill>
                  <a:srgbClr val="000000"/>
                </a:solidFill>
              </a:rPr>
              <a:t>Copco</a:t>
            </a:r>
            <a:r>
              <a:rPr lang="cs-CZ" sz="2000" dirty="0">
                <a:solidFill>
                  <a:srgbClr val="000000"/>
                </a:solidFill>
              </a:rPr>
              <a:t> </a:t>
            </a:r>
            <a:r>
              <a:rPr lang="cs-CZ" sz="2000" dirty="0" err="1">
                <a:solidFill>
                  <a:srgbClr val="000000"/>
                </a:solidFill>
              </a:rPr>
              <a:t>Services</a:t>
            </a:r>
            <a:endParaRPr lang="cs-CZ" sz="2000" dirty="0">
              <a:solidFill>
                <a:srgbClr val="000000"/>
              </a:solidFill>
            </a:endParaRPr>
          </a:p>
          <a:p>
            <a:pPr marL="450850" indent="266700" algn="just">
              <a:buClr>
                <a:srgbClr val="FF9900"/>
              </a:buClr>
              <a:buSzPct val="109000"/>
              <a:buFont typeface="Montserrat" panose="00000500000000000000" pitchFamily="2" charset="-18"/>
              <a:buChar char="−"/>
            </a:pPr>
            <a:r>
              <a:rPr lang="cs-CZ" sz="2000" b="1" dirty="0">
                <a:solidFill>
                  <a:srgbClr val="000000"/>
                </a:solidFill>
                <a:latin typeface="Montserrat ExtraBold" panose="00000900000000000000" pitchFamily="2" charset="-18"/>
              </a:rPr>
              <a:t>Sylva Talpová Žáková </a:t>
            </a:r>
            <a:r>
              <a:rPr lang="cs-CZ" sz="2000" dirty="0">
                <a:solidFill>
                  <a:srgbClr val="000000"/>
                </a:solidFill>
              </a:rPr>
              <a:t>– Proděkanka pro vnější vztahy a spolupráci s 					    partnery, ECON MUNI</a:t>
            </a:r>
          </a:p>
          <a:p>
            <a:pPr marL="450850" indent="266700" algn="just">
              <a:buClr>
                <a:srgbClr val="FF9900"/>
              </a:buClr>
              <a:buSzPct val="109000"/>
              <a:buFont typeface="Montserrat" panose="00000500000000000000" pitchFamily="2" charset="-18"/>
              <a:buChar char="−"/>
            </a:pPr>
            <a:r>
              <a:rPr lang="cs-CZ" sz="2000" b="1" dirty="0">
                <a:solidFill>
                  <a:srgbClr val="000000"/>
                </a:solidFill>
                <a:latin typeface="Montserrat ExtraBold" panose="00000900000000000000" pitchFamily="2" charset="-18"/>
              </a:rPr>
              <a:t>Kryštof Radek </a:t>
            </a:r>
            <a:r>
              <a:rPr lang="cs-CZ" sz="2000" dirty="0">
                <a:solidFill>
                  <a:srgbClr val="000000"/>
                </a:solidFill>
              </a:rPr>
              <a:t>– Country HR </a:t>
            </a:r>
            <a:r>
              <a:rPr lang="cs-CZ" sz="2000" dirty="0" err="1">
                <a:solidFill>
                  <a:srgbClr val="000000"/>
                </a:solidFill>
              </a:rPr>
              <a:t>Director</a:t>
            </a:r>
            <a:r>
              <a:rPr lang="cs-CZ" sz="2000" dirty="0">
                <a:solidFill>
                  <a:srgbClr val="000000"/>
                </a:solidFill>
              </a:rPr>
              <a:t>, </a:t>
            </a:r>
            <a:r>
              <a:rPr lang="cs-CZ" sz="2000" dirty="0" err="1">
                <a:solidFill>
                  <a:srgbClr val="000000"/>
                </a:solidFill>
              </a:rPr>
              <a:t>Kyndryl</a:t>
            </a:r>
            <a:r>
              <a:rPr lang="cs-CZ" sz="2000" dirty="0">
                <a:solidFill>
                  <a:srgbClr val="000000"/>
                </a:solidFill>
              </a:rPr>
              <a:t> </a:t>
            </a:r>
          </a:p>
          <a:p>
            <a:pPr marL="450850" indent="266700" algn="just">
              <a:buClr>
                <a:srgbClr val="FF9900"/>
              </a:buClr>
              <a:buSzPct val="109000"/>
              <a:buFont typeface="Montserrat" panose="00000500000000000000" pitchFamily="2" charset="-18"/>
              <a:buChar char="−"/>
            </a:pPr>
            <a:r>
              <a:rPr lang="cs-CZ" sz="2000" b="1" dirty="0">
                <a:solidFill>
                  <a:srgbClr val="000000"/>
                </a:solidFill>
                <a:latin typeface="Montserrat ExtraBold" panose="00000900000000000000" pitchFamily="2" charset="-18"/>
              </a:rPr>
              <a:t>Renáta Millerová </a:t>
            </a:r>
            <a:r>
              <a:rPr lang="cs-CZ" sz="2000" dirty="0">
                <a:solidFill>
                  <a:srgbClr val="000000"/>
                </a:solidFill>
              </a:rPr>
              <a:t>– HR </a:t>
            </a:r>
            <a:r>
              <a:rPr lang="cs-CZ" sz="2000" dirty="0" err="1">
                <a:solidFill>
                  <a:srgbClr val="000000"/>
                </a:solidFill>
              </a:rPr>
              <a:t>Director</a:t>
            </a:r>
            <a:r>
              <a:rPr lang="cs-CZ" sz="2000" dirty="0">
                <a:solidFill>
                  <a:srgbClr val="000000"/>
                </a:solidFill>
              </a:rPr>
              <a:t> CZ, SK, PL, HR a SRB, </a:t>
            </a:r>
            <a:r>
              <a:rPr lang="cs-CZ" sz="2000" dirty="0" err="1">
                <a:solidFill>
                  <a:srgbClr val="000000"/>
                </a:solidFill>
              </a:rPr>
              <a:t>Thermo</a:t>
            </a:r>
            <a:r>
              <a:rPr lang="cs-CZ" sz="2000" dirty="0">
                <a:solidFill>
                  <a:srgbClr val="000000"/>
                </a:solidFill>
              </a:rPr>
              <a:t> </a:t>
            </a:r>
            <a:r>
              <a:rPr lang="cs-CZ" sz="2000" dirty="0" err="1">
                <a:solidFill>
                  <a:srgbClr val="000000"/>
                </a:solidFill>
              </a:rPr>
              <a:t>Fisher</a:t>
            </a:r>
            <a:r>
              <a:rPr lang="cs-CZ" sz="2000" dirty="0">
                <a:solidFill>
                  <a:srgbClr val="000000"/>
                </a:solidFill>
              </a:rPr>
              <a:t> 				        </a:t>
            </a:r>
            <a:r>
              <a:rPr lang="cs-CZ" sz="2000" dirty="0" err="1">
                <a:solidFill>
                  <a:srgbClr val="000000"/>
                </a:solidFill>
              </a:rPr>
              <a:t>Scientific</a:t>
            </a:r>
            <a:r>
              <a:rPr lang="cs-CZ" sz="2000" dirty="0">
                <a:solidFill>
                  <a:srgbClr val="000000"/>
                </a:solidFill>
              </a:rPr>
              <a:t> </a:t>
            </a:r>
          </a:p>
          <a:p>
            <a:pPr marL="625475" indent="184150" algn="just">
              <a:buClr>
                <a:srgbClr val="FF9900"/>
              </a:buClr>
              <a:buSzPct val="109000"/>
              <a:buFont typeface="Montserrat" panose="00000500000000000000" pitchFamily="2" charset="-18"/>
              <a:buChar char="−"/>
            </a:pPr>
            <a:endParaRPr lang="cs-CZ" sz="2000" dirty="0">
              <a:solidFill>
                <a:srgbClr val="000000"/>
              </a:solidFill>
            </a:endParaRPr>
          </a:p>
          <a:p>
            <a:pPr marL="0" indent="0">
              <a:buFont typeface="Montserrat Medium" panose="00000600000000000000" pitchFamily="2" charset="-18"/>
              <a:buNone/>
              <a:tabLst>
                <a:tab pos="0" algn="l"/>
              </a:tabLst>
            </a:pPr>
            <a:endParaRPr lang="cs-CZ" sz="500" dirty="0">
              <a:solidFill>
                <a:srgbClr val="000000"/>
              </a:solidFill>
            </a:endParaRPr>
          </a:p>
          <a:p>
            <a:pPr marL="0" indent="0">
              <a:buFont typeface="Montserrat Medium" panose="00000600000000000000" pitchFamily="2" charset="-18"/>
              <a:buNone/>
              <a:tabLst>
                <a:tab pos="0" algn="l"/>
              </a:tabLst>
            </a:pPr>
            <a:endParaRPr lang="cs-CZ" sz="500" dirty="0">
              <a:solidFill>
                <a:srgbClr val="000000"/>
              </a:solidFill>
            </a:endParaRPr>
          </a:p>
          <a:p>
            <a:pPr marL="0" indent="0">
              <a:buFont typeface="Montserrat Medium" panose="00000600000000000000" pitchFamily="2" charset="-18"/>
              <a:buNone/>
              <a:tabLst>
                <a:tab pos="0" algn="l"/>
              </a:tabLst>
            </a:pPr>
            <a:endParaRPr lang="cs-CZ" sz="500" dirty="0">
              <a:solidFill>
                <a:srgbClr val="000000"/>
              </a:solidFill>
            </a:endParaRPr>
          </a:p>
          <a:p>
            <a:pPr marL="0" indent="0">
              <a:buFont typeface="Montserrat Medium" panose="00000600000000000000" pitchFamily="2" charset="-18"/>
              <a:buNone/>
              <a:tabLst>
                <a:tab pos="895350" algn="l"/>
                <a:tab pos="1439863" algn="l"/>
              </a:tabLst>
            </a:pPr>
            <a:r>
              <a:rPr lang="cs-CZ" sz="1800" dirty="0">
                <a:solidFill>
                  <a:srgbClr val="000000"/>
                </a:solidFill>
              </a:rPr>
              <a:t>	</a:t>
            </a:r>
            <a:endParaRPr lang="cs-CZ" sz="1800" i="1" dirty="0">
              <a:solidFill>
                <a:srgbClr val="000000"/>
              </a:solidFill>
            </a:endParaRPr>
          </a:p>
          <a:p>
            <a:pPr marL="0" indent="0">
              <a:buFont typeface="Montserrat Medium" panose="00000600000000000000" pitchFamily="2" charset="-18"/>
              <a:buNone/>
              <a:tabLst>
                <a:tab pos="1439863" algn="l"/>
              </a:tabLst>
            </a:pPr>
            <a:r>
              <a:rPr lang="cs-CZ" sz="1800" dirty="0">
                <a:solidFill>
                  <a:srgbClr val="000000"/>
                </a:solidFill>
              </a:rPr>
              <a:t>	</a:t>
            </a:r>
            <a:endParaRPr lang="cs-CZ" sz="2200" dirty="0">
              <a:solidFill>
                <a:srgbClr val="000000"/>
              </a:solidFill>
              <a:latin typeface="MyriadPro-It"/>
            </a:endParaRPr>
          </a:p>
        </p:txBody>
      </p:sp>
      <p:grpSp>
        <p:nvGrpSpPr>
          <p:cNvPr id="10" name="Skupina 9">
            <a:extLst>
              <a:ext uri="{FF2B5EF4-FFF2-40B4-BE49-F238E27FC236}">
                <a16:creationId xmlns:a16="http://schemas.microsoft.com/office/drawing/2014/main" id="{AD542271-2988-68E6-3007-E8D0F4875488}"/>
              </a:ext>
            </a:extLst>
          </p:cNvPr>
          <p:cNvGrpSpPr/>
          <p:nvPr/>
        </p:nvGrpSpPr>
        <p:grpSpPr>
          <a:xfrm>
            <a:off x="778575" y="1521689"/>
            <a:ext cx="4291135" cy="548793"/>
            <a:chOff x="4419241" y="171845"/>
            <a:chExt cx="4201213" cy="548793"/>
          </a:xfrm>
        </p:grpSpPr>
        <p:sp>
          <p:nvSpPr>
            <p:cNvPr id="14" name="Rovnoramenný trojúhelník 13">
              <a:extLst>
                <a:ext uri="{FF2B5EF4-FFF2-40B4-BE49-F238E27FC236}">
                  <a16:creationId xmlns:a16="http://schemas.microsoft.com/office/drawing/2014/main" id="{730B8C3B-5900-2AD9-4BAF-065B64FEFDB4}"/>
                </a:ext>
              </a:extLst>
            </p:cNvPr>
            <p:cNvSpPr>
              <a:spLocks noChangeAspect="1"/>
            </p:cNvSpPr>
            <p:nvPr/>
          </p:nvSpPr>
          <p:spPr>
            <a:xfrm rot="2700000">
              <a:off x="4424702" y="585638"/>
              <a:ext cx="180000" cy="90000"/>
            </a:xfrm>
            <a:prstGeom prst="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Medium"/>
                <a:ea typeface="+mn-ea"/>
                <a:cs typeface="+mn-cs"/>
              </a:endParaRPr>
            </a:p>
          </p:txBody>
        </p:sp>
        <p:sp>
          <p:nvSpPr>
            <p:cNvPr id="15" name="TextovéPole 14">
              <a:extLst>
                <a:ext uri="{FF2B5EF4-FFF2-40B4-BE49-F238E27FC236}">
                  <a16:creationId xmlns:a16="http://schemas.microsoft.com/office/drawing/2014/main" id="{400D7745-CC5F-8BA9-054F-CF5F75E669A2}"/>
                </a:ext>
              </a:extLst>
            </p:cNvPr>
            <p:cNvSpPr txBox="1"/>
            <p:nvPr/>
          </p:nvSpPr>
          <p:spPr>
            <a:xfrm>
              <a:off x="4419241" y="171845"/>
              <a:ext cx="4201213" cy="42672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54000" rtlCol="0" anchor="ctr">
              <a:noAutofit/>
            </a:bodyPr>
            <a:lstStyle/>
            <a:p>
              <a:pPr marL="13335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 ExtraBold" panose="00000900000000000000" pitchFamily="2" charset="-18"/>
                  <a:ea typeface="+mn-ea"/>
                  <a:cs typeface="+mn-cs"/>
                </a:rPr>
                <a:t>Blok 2: Sdílení zkušeností</a:t>
              </a:r>
            </a:p>
          </p:txBody>
        </p:sp>
      </p:grpSp>
      <p:pic>
        <p:nvPicPr>
          <p:cNvPr id="5" name="Grafický objekt 4">
            <a:extLst>
              <a:ext uri="{FF2B5EF4-FFF2-40B4-BE49-F238E27FC236}">
                <a16:creationId xmlns:a16="http://schemas.microsoft.com/office/drawing/2014/main" id="{F41ECCBC-CF6A-EE85-CAED-6CBAFC77769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189514" y="5639889"/>
            <a:ext cx="1667601" cy="795743"/>
          </a:xfrm>
          <a:prstGeom prst="rect">
            <a:avLst/>
          </a:prstGeom>
        </p:spPr>
      </p:pic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55D7B56B-1830-A155-D20E-CD2E0E70467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72220" y="5617227"/>
            <a:ext cx="1765906" cy="816731"/>
          </a:xfrm>
          <a:prstGeom prst="rect">
            <a:avLst/>
          </a:prstGeom>
        </p:spPr>
      </p:pic>
      <p:pic>
        <p:nvPicPr>
          <p:cNvPr id="13" name="Obrázek 12">
            <a:extLst>
              <a:ext uri="{FF2B5EF4-FFF2-40B4-BE49-F238E27FC236}">
                <a16:creationId xmlns:a16="http://schemas.microsoft.com/office/drawing/2014/main" id="{57CFCD78-B5DE-A6EB-6817-1D36CE3DC371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26888" t="35257" r="9123" b="24549"/>
          <a:stretch/>
        </p:blipFill>
        <p:spPr>
          <a:xfrm>
            <a:off x="8473825" y="5491466"/>
            <a:ext cx="2797692" cy="9558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699920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obsah 1">
            <a:extLst>
              <a:ext uri="{FF2B5EF4-FFF2-40B4-BE49-F238E27FC236}">
                <a16:creationId xmlns:a16="http://schemas.microsoft.com/office/drawing/2014/main" id="{23EAE5E0-D169-5944-E477-FF7F23B5D87B}"/>
              </a:ext>
            </a:extLst>
          </p:cNvPr>
          <p:cNvSpPr txBox="1">
            <a:spLocks/>
          </p:cNvSpPr>
          <p:nvPr/>
        </p:nvSpPr>
        <p:spPr>
          <a:xfrm>
            <a:off x="876079" y="984234"/>
            <a:ext cx="10482565" cy="2580769"/>
          </a:xfrm>
          <a:prstGeom prst="rect">
            <a:avLst/>
          </a:prstGeom>
          <a:solidFill>
            <a:srgbClr val="43E4FF"/>
          </a:solidFill>
        </p:spPr>
        <p:txBody>
          <a:bodyPr/>
          <a:lstStyle>
            <a:lvl1pPr marL="447675" indent="-447675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Clr>
                <a:schemeClr val="tx1"/>
              </a:buClr>
              <a:buFont typeface="Montserrat Medium" panose="00000600000000000000" pitchFamily="2" charset="-18"/>
              <a:buChar char="—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Font typeface="Montserrat Medium" panose="00000600000000000000" pitchFamily="2" charset="-18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Font typeface="Montserrat Medium" panose="00000600000000000000" pitchFamily="2" charset="-18"/>
              <a:buChar char="‐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Font typeface="Montserrat Medium" panose="00000600000000000000" pitchFamily="2" charset="-18"/>
              <a:buChar char="‐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Font typeface="Montserrat Medium" panose="00000600000000000000" pitchFamily="2" charset="-18"/>
              <a:buChar char="‐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Montserrat Medium" panose="00000600000000000000" pitchFamily="2" charset="-18"/>
              <a:buNone/>
            </a:pPr>
            <a:endParaRPr lang="cs-CZ" sz="2200" i="1" dirty="0"/>
          </a:p>
          <a:p>
            <a:pPr marL="1438275" indent="-1438275">
              <a:buFont typeface="Montserrat Medium" panose="00000600000000000000" pitchFamily="2" charset="-18"/>
              <a:buNone/>
              <a:tabLst>
                <a:tab pos="1079500" algn="l"/>
                <a:tab pos="1439863" algn="l"/>
              </a:tabLst>
            </a:pPr>
            <a:endParaRPr lang="cs-CZ" sz="1800" dirty="0">
              <a:solidFill>
                <a:srgbClr val="000000"/>
              </a:solidFill>
              <a:latin typeface="Montserrat ExtraBold" panose="00000900000000000000" pitchFamily="2" charset="-18"/>
            </a:endParaRPr>
          </a:p>
          <a:p>
            <a:pPr marL="0" indent="0">
              <a:buFont typeface="Montserrat Medium" panose="00000600000000000000" pitchFamily="2" charset="-18"/>
              <a:buNone/>
              <a:tabLst>
                <a:tab pos="0" algn="l"/>
              </a:tabLst>
            </a:pPr>
            <a:endParaRPr lang="cs-CZ" sz="1800" dirty="0">
              <a:solidFill>
                <a:srgbClr val="000000"/>
              </a:solidFill>
            </a:endParaRPr>
          </a:p>
          <a:p>
            <a:pPr marL="0" indent="0">
              <a:buFont typeface="Montserrat Medium" panose="00000600000000000000" pitchFamily="2" charset="-18"/>
              <a:buNone/>
              <a:tabLst>
                <a:tab pos="0" algn="l"/>
              </a:tabLst>
            </a:pPr>
            <a:r>
              <a:rPr lang="cs-CZ" sz="500" dirty="0">
                <a:solidFill>
                  <a:srgbClr val="000000"/>
                </a:solidFill>
              </a:rPr>
              <a:t> </a:t>
            </a:r>
          </a:p>
          <a:p>
            <a:pPr marL="0" indent="0">
              <a:buFont typeface="Montserrat Medium" panose="00000600000000000000" pitchFamily="2" charset="-18"/>
              <a:buNone/>
              <a:tabLst>
                <a:tab pos="0" algn="l"/>
              </a:tabLst>
            </a:pPr>
            <a:endParaRPr lang="cs-CZ" sz="500" dirty="0">
              <a:solidFill>
                <a:srgbClr val="000000"/>
              </a:solidFill>
            </a:endParaRPr>
          </a:p>
          <a:p>
            <a:pPr marL="0" indent="0">
              <a:buFont typeface="Montserrat Medium" panose="00000600000000000000" pitchFamily="2" charset="-18"/>
              <a:buNone/>
              <a:tabLst>
                <a:tab pos="895350" algn="l"/>
                <a:tab pos="1439863" algn="l"/>
              </a:tabLst>
            </a:pPr>
            <a:r>
              <a:rPr lang="cs-CZ" sz="1800" dirty="0">
                <a:solidFill>
                  <a:srgbClr val="000000"/>
                </a:solidFill>
              </a:rPr>
              <a:t>	</a:t>
            </a:r>
            <a:endParaRPr lang="cs-CZ" sz="1800" i="1" dirty="0">
              <a:solidFill>
                <a:srgbClr val="000000"/>
              </a:solidFill>
            </a:endParaRPr>
          </a:p>
          <a:p>
            <a:pPr marL="0" indent="0">
              <a:buFont typeface="Montserrat Medium" panose="00000600000000000000" pitchFamily="2" charset="-18"/>
              <a:buNone/>
              <a:tabLst>
                <a:tab pos="1439863" algn="l"/>
              </a:tabLst>
            </a:pPr>
            <a:r>
              <a:rPr lang="cs-CZ" sz="1800" dirty="0">
                <a:solidFill>
                  <a:srgbClr val="000000"/>
                </a:solidFill>
              </a:rPr>
              <a:t>	 </a:t>
            </a:r>
            <a:endParaRPr lang="cs-CZ" sz="2200" dirty="0">
              <a:solidFill>
                <a:srgbClr val="000000"/>
              </a:solidFill>
              <a:latin typeface="MyriadPro-It"/>
            </a:endParaRPr>
          </a:p>
        </p:txBody>
      </p:sp>
      <p:grpSp>
        <p:nvGrpSpPr>
          <p:cNvPr id="10" name="Skupina 9">
            <a:extLst>
              <a:ext uri="{FF2B5EF4-FFF2-40B4-BE49-F238E27FC236}">
                <a16:creationId xmlns:a16="http://schemas.microsoft.com/office/drawing/2014/main" id="{AD542271-2988-68E6-3007-E8D0F4875488}"/>
              </a:ext>
            </a:extLst>
          </p:cNvPr>
          <p:cNvGrpSpPr/>
          <p:nvPr/>
        </p:nvGrpSpPr>
        <p:grpSpPr>
          <a:xfrm>
            <a:off x="778575" y="1521689"/>
            <a:ext cx="4487906" cy="642777"/>
            <a:chOff x="4419241" y="171845"/>
            <a:chExt cx="4201213" cy="548793"/>
          </a:xfrm>
        </p:grpSpPr>
        <p:sp>
          <p:nvSpPr>
            <p:cNvPr id="14" name="Rovnoramenný trojúhelník 13">
              <a:extLst>
                <a:ext uri="{FF2B5EF4-FFF2-40B4-BE49-F238E27FC236}">
                  <a16:creationId xmlns:a16="http://schemas.microsoft.com/office/drawing/2014/main" id="{730B8C3B-5900-2AD9-4BAF-065B64FEFDB4}"/>
                </a:ext>
              </a:extLst>
            </p:cNvPr>
            <p:cNvSpPr>
              <a:spLocks noChangeAspect="1"/>
            </p:cNvSpPr>
            <p:nvPr/>
          </p:nvSpPr>
          <p:spPr>
            <a:xfrm rot="2700000">
              <a:off x="4424702" y="585638"/>
              <a:ext cx="180000" cy="90000"/>
            </a:xfrm>
            <a:prstGeom prst="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Medium"/>
                <a:ea typeface="+mn-ea"/>
                <a:cs typeface="+mn-cs"/>
              </a:endParaRPr>
            </a:p>
          </p:txBody>
        </p:sp>
        <p:sp>
          <p:nvSpPr>
            <p:cNvPr id="15" name="TextovéPole 14">
              <a:extLst>
                <a:ext uri="{FF2B5EF4-FFF2-40B4-BE49-F238E27FC236}">
                  <a16:creationId xmlns:a16="http://schemas.microsoft.com/office/drawing/2014/main" id="{400D7745-CC5F-8BA9-054F-CF5F75E669A2}"/>
                </a:ext>
              </a:extLst>
            </p:cNvPr>
            <p:cNvSpPr txBox="1"/>
            <p:nvPr/>
          </p:nvSpPr>
          <p:spPr>
            <a:xfrm>
              <a:off x="4419241" y="171845"/>
              <a:ext cx="4201213" cy="426720"/>
            </a:xfrm>
            <a:prstGeom prst="rect">
              <a:avLst/>
            </a:prstGeom>
            <a:solidFill>
              <a:schemeClr val="accent2"/>
            </a:solidFill>
          </p:spPr>
          <p:txBody>
            <a:bodyPr wrap="none" lIns="54000" rtlCol="0" anchor="ctr">
              <a:noAutofit/>
            </a:bodyPr>
            <a:lstStyle/>
            <a:p>
              <a:pPr marL="13335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ontserrat ExtraBold" panose="00000900000000000000" pitchFamily="2" charset="-18"/>
                  <a:ea typeface="+mn-ea"/>
                  <a:cs typeface="+mn-cs"/>
                </a:rPr>
                <a:t>Shrnutí a závěr</a:t>
              </a:r>
            </a:p>
          </p:txBody>
        </p:sp>
      </p:grpSp>
      <p:pic>
        <p:nvPicPr>
          <p:cNvPr id="5" name="Grafický objekt 4">
            <a:extLst>
              <a:ext uri="{FF2B5EF4-FFF2-40B4-BE49-F238E27FC236}">
                <a16:creationId xmlns:a16="http://schemas.microsoft.com/office/drawing/2014/main" id="{F41ECCBC-CF6A-EE85-CAED-6CBAFC77769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13061" y="5457788"/>
            <a:ext cx="2013518" cy="960807"/>
          </a:xfrm>
          <a:prstGeom prst="rect">
            <a:avLst/>
          </a:prstGeom>
        </p:spPr>
      </p:pic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55D7B56B-1830-A155-D20E-CD2E0E70467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394364" y="3986327"/>
            <a:ext cx="2132215" cy="986149"/>
          </a:xfrm>
          <a:prstGeom prst="rect">
            <a:avLst/>
          </a:prstGeom>
        </p:spPr>
      </p:pic>
      <p:pic>
        <p:nvPicPr>
          <p:cNvPr id="13" name="Obrázek 12">
            <a:extLst>
              <a:ext uri="{FF2B5EF4-FFF2-40B4-BE49-F238E27FC236}">
                <a16:creationId xmlns:a16="http://schemas.microsoft.com/office/drawing/2014/main" id="{57CFCD78-B5DE-A6EB-6817-1D36CE3DC371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26888" t="35257" r="9123" b="24549"/>
          <a:stretch/>
        </p:blipFill>
        <p:spPr>
          <a:xfrm>
            <a:off x="5436027" y="4134875"/>
            <a:ext cx="5242912" cy="17912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33736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Motiv Office">
  <a:themeElements>
    <a:clrScheme name="Diverzita">
      <a:dk1>
        <a:sysClr val="windowText" lastClr="000000"/>
      </a:dk1>
      <a:lt1>
        <a:sysClr val="window" lastClr="FFFFFF"/>
      </a:lt1>
      <a:dk2>
        <a:srgbClr val="2A6277"/>
      </a:dk2>
      <a:lt2>
        <a:srgbClr val="E7E6E6"/>
      </a:lt2>
      <a:accent1>
        <a:srgbClr val="5BE6FF"/>
      </a:accent1>
      <a:accent2>
        <a:srgbClr val="FE8F00"/>
      </a:accent2>
      <a:accent3>
        <a:srgbClr val="FE2A00"/>
      </a:accent3>
      <a:accent4>
        <a:srgbClr val="6FBA00"/>
      </a:accent4>
      <a:accent5>
        <a:srgbClr val="5F1994"/>
      </a:accent5>
      <a:accent6>
        <a:srgbClr val="999999"/>
      </a:accent6>
      <a:hlink>
        <a:srgbClr val="FE8F00"/>
      </a:hlink>
      <a:folHlink>
        <a:srgbClr val="FE8F00"/>
      </a:folHlink>
    </a:clrScheme>
    <a:fontScheme name="Diverzita">
      <a:majorFont>
        <a:latin typeface="Playfair Display ExtraBold"/>
        <a:ea typeface=""/>
        <a:cs typeface=""/>
      </a:majorFont>
      <a:minorFont>
        <a:latin typeface="Montserrat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PS_Diverzita_template.potx" id="{10BC1459-78D3-49D7-8368-0AC1B2FDB3C4}" vid="{50FA791C-1080-49AF-AC02-5C755F4F532E}"/>
    </a:ext>
  </a:extLst>
</a:theme>
</file>

<file path=ppt/theme/theme2.xml><?xml version="1.0" encoding="utf-8"?>
<a:theme xmlns:a="http://schemas.openxmlformats.org/drawingml/2006/main" name="1_Deloitte Brand Theme">
  <a:themeElements>
    <a:clrScheme name="Custom 3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Custom 2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update_ppt_default_2022.pptx" id="{4C8BF10E-0C83-419B-8C3C-CDF5020B1037}" vid="{8A16D38C-102B-4677-9510-850044B5C7DA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718</TotalTime>
  <Words>160</Words>
  <Application>Microsoft Office PowerPoint</Application>
  <PresentationFormat>Širokoúhlá obrazovka</PresentationFormat>
  <Paragraphs>57</Paragraphs>
  <Slides>6</Slides>
  <Notes>0</Notes>
  <HiddenSlides>0</HiddenSlides>
  <MMClips>0</MMClips>
  <ScaleCrop>false</ScaleCrop>
  <HeadingPairs>
    <vt:vector size="8" baseType="variant">
      <vt:variant>
        <vt:lpstr>Použitá písma</vt:lpstr>
      </vt:variant>
      <vt:variant>
        <vt:i4>8</vt:i4>
      </vt:variant>
      <vt:variant>
        <vt:lpstr>Motiv</vt:lpstr>
      </vt:variant>
      <vt:variant>
        <vt:i4>2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6</vt:i4>
      </vt:variant>
    </vt:vector>
  </HeadingPairs>
  <TitlesOfParts>
    <vt:vector size="17" baseType="lpstr">
      <vt:lpstr>Arial</vt:lpstr>
      <vt:lpstr>Calibri</vt:lpstr>
      <vt:lpstr>Calibri Light</vt:lpstr>
      <vt:lpstr>Montserrat</vt:lpstr>
      <vt:lpstr>Montserrat ExtraBold</vt:lpstr>
      <vt:lpstr>Montserrat Medium</vt:lpstr>
      <vt:lpstr>MyriadPro-It</vt:lpstr>
      <vt:lpstr>Verdana</vt:lpstr>
      <vt:lpstr>1_Motiv Office</vt:lpstr>
      <vt:lpstr>1_Deloitte Brand Theme</vt:lpstr>
      <vt:lpstr>think-cell Slide</vt:lpstr>
      <vt:lpstr> Podpora mladých talentů: investice do naší budoucnosti   28.5.2024  Evropský měsíc diverzity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Kamila Čubanová</dc:creator>
  <cp:lastModifiedBy>Kamila Čubanová</cp:lastModifiedBy>
  <cp:revision>263</cp:revision>
  <dcterms:created xsi:type="dcterms:W3CDTF">2022-06-20T11:55:03Z</dcterms:created>
  <dcterms:modified xsi:type="dcterms:W3CDTF">2024-05-27T11:55:37Z</dcterms:modified>
</cp:coreProperties>
</file>